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682" r:id="rId5"/>
    <p:sldMasterId id="2147483694" r:id="rId6"/>
    <p:sldMasterId id="2147483708" r:id="rId7"/>
  </p:sldMasterIdLst>
  <p:notesMasterIdLst>
    <p:notesMasterId r:id="rId19"/>
  </p:notesMasterIdLst>
  <p:sldIdLst>
    <p:sldId id="290" r:id="rId8"/>
    <p:sldId id="2145707793" r:id="rId9"/>
    <p:sldId id="2145707794" r:id="rId10"/>
    <p:sldId id="2145707973" r:id="rId11"/>
    <p:sldId id="2145707773" r:id="rId12"/>
    <p:sldId id="258" r:id="rId13"/>
    <p:sldId id="2145707787" r:id="rId14"/>
    <p:sldId id="2145707974" r:id="rId15"/>
    <p:sldId id="2145707975" r:id="rId16"/>
    <p:sldId id="2145707969" r:id="rId17"/>
    <p:sldId id="2145707792" r:id="rId18"/>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DD53120-AE60-41F7-A8C2-D149AC5803CB}">
          <p14:sldIdLst>
            <p14:sldId id="290"/>
            <p14:sldId id="2145707793"/>
            <p14:sldId id="2145707794"/>
            <p14:sldId id="2145707973"/>
            <p14:sldId id="2145707773"/>
            <p14:sldId id="258"/>
            <p14:sldId id="2145707787"/>
            <p14:sldId id="2145707974"/>
            <p14:sldId id="2145707975"/>
            <p14:sldId id="2145707969"/>
            <p14:sldId id="214570779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82D2"/>
    <a:srgbClr val="CD193C"/>
    <a:srgbClr val="F5D1D8"/>
    <a:srgbClr val="EBA3B1"/>
    <a:srgbClr val="E1758A"/>
    <a:srgbClr val="D74763"/>
    <a:srgbClr val="ECD4E7"/>
    <a:srgbClr val="D8A9CF"/>
    <a:srgbClr val="C57E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2"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35496D7-5BC3-4C05-AC12-C4F3DA90DA0E}" type="doc">
      <dgm:prSet loTypeId="urn:microsoft.com/office/officeart/2005/8/layout/cycle5" loCatId="cycle" qsTypeId="urn:microsoft.com/office/officeart/2005/8/quickstyle/simple1" qsCatId="simple" csTypeId="urn:microsoft.com/office/officeart/2005/8/colors/accent6_1" csCatId="accent6" phldr="1"/>
      <dgm:spPr>
        <a:scene3d>
          <a:camera prst="orthographicFront">
            <a:rot lat="0" lon="0" rev="0"/>
          </a:camera>
          <a:lightRig rig="threePt" dir="t"/>
        </a:scene3d>
      </dgm:spPr>
      <dgm:t>
        <a:bodyPr/>
        <a:lstStyle/>
        <a:p>
          <a:endParaRPr lang="es-ES"/>
        </a:p>
      </dgm:t>
    </dgm:pt>
    <dgm:pt modelId="{3F678F83-DA76-4A00-8F76-B0A7F85043BA}">
      <dgm:prSet phldrT="[Texto]" custT="1"/>
      <dgm:spPr>
        <a:ln>
          <a:noFill/>
        </a:ln>
      </dgm:spPr>
      <dgm:t>
        <a:bodyPr/>
        <a:lstStyle/>
        <a:p>
          <a:r>
            <a:rPr lang="es-ES" sz="1200" b="1" dirty="0" err="1">
              <a:latin typeface="Bahnschrift SemiCondensed" panose="020B0502040204020203" pitchFamily="34" charset="0"/>
            </a:rPr>
            <a:t>Increased</a:t>
          </a:r>
          <a:r>
            <a:rPr lang="es-ES" sz="1200" b="1" dirty="0">
              <a:latin typeface="Bahnschrift SemiCondensed" panose="020B0502040204020203" pitchFamily="34" charset="0"/>
            </a:rPr>
            <a:t> car </a:t>
          </a:r>
          <a:r>
            <a:rPr lang="es-ES" sz="1200" b="1" dirty="0" err="1">
              <a:latin typeface="Bahnschrift SemiCondensed" panose="020B0502040204020203" pitchFamily="34" charset="0"/>
            </a:rPr>
            <a:t>ownership</a:t>
          </a:r>
          <a:endParaRPr lang="es-ES" sz="1200" b="1" dirty="0">
            <a:latin typeface="Bahnschrift SemiCondensed" panose="020B0502040204020203" pitchFamily="34" charset="0"/>
          </a:endParaRPr>
        </a:p>
      </dgm:t>
    </dgm:pt>
    <dgm:pt modelId="{E808D634-4649-4B66-ADEA-D242C0AD0751}" type="parTrans" cxnId="{9F9CFF0B-2F5A-40F1-855E-47B20508B215}">
      <dgm:prSet/>
      <dgm:spPr/>
      <dgm:t>
        <a:bodyPr/>
        <a:lstStyle/>
        <a:p>
          <a:endParaRPr lang="es-ES" sz="1200" b="1">
            <a:latin typeface="Bahnschrift SemiCondensed" panose="020B0502040204020203" pitchFamily="34" charset="0"/>
          </a:endParaRPr>
        </a:p>
      </dgm:t>
    </dgm:pt>
    <dgm:pt modelId="{3BF5E962-041F-44EA-AD53-25B922A5452E}" type="sibTrans" cxnId="{9F9CFF0B-2F5A-40F1-855E-47B20508B215}">
      <dgm:prSet/>
      <dgm:spPr>
        <a:ln w="15875">
          <a:solidFill>
            <a:schemeClr val="accent6"/>
          </a:solidFill>
        </a:ln>
      </dgm:spPr>
      <dgm:t>
        <a:bodyPr/>
        <a:lstStyle/>
        <a:p>
          <a:endParaRPr lang="es-ES" sz="1200" b="1">
            <a:latin typeface="Bahnschrift SemiCondensed" panose="020B0502040204020203" pitchFamily="34" charset="0"/>
          </a:endParaRPr>
        </a:p>
      </dgm:t>
    </dgm:pt>
    <dgm:pt modelId="{403C3159-CD2F-4DF5-8932-77A139FC5782}">
      <dgm:prSet phldrT="[Texto]" custT="1"/>
      <dgm:spPr>
        <a:ln>
          <a:noFill/>
        </a:ln>
      </dgm:spPr>
      <dgm:t>
        <a:bodyPr/>
        <a:lstStyle/>
        <a:p>
          <a:r>
            <a:rPr lang="es-ES" sz="1200" b="1">
              <a:latin typeface="Bahnschrift SemiCondensed" panose="020B0502040204020203" pitchFamily="34" charset="0"/>
            </a:rPr>
            <a:t>Limited transportation alternatives</a:t>
          </a:r>
          <a:endParaRPr lang="es-ES" sz="1200" b="1" dirty="0">
            <a:latin typeface="Bahnschrift SemiCondensed" panose="020B0502040204020203" pitchFamily="34" charset="0"/>
          </a:endParaRPr>
        </a:p>
      </dgm:t>
    </dgm:pt>
    <dgm:pt modelId="{9E70E48C-35CD-4C64-906C-929953E9F3D6}" type="parTrans" cxnId="{D4E5062F-1878-423B-944A-A1E627F5AF58}">
      <dgm:prSet/>
      <dgm:spPr/>
      <dgm:t>
        <a:bodyPr/>
        <a:lstStyle/>
        <a:p>
          <a:endParaRPr lang="es-ES" sz="1200" b="1">
            <a:latin typeface="Bahnschrift SemiCondensed" panose="020B0502040204020203" pitchFamily="34" charset="0"/>
          </a:endParaRPr>
        </a:p>
      </dgm:t>
    </dgm:pt>
    <dgm:pt modelId="{49952F1D-8EC7-454A-9A2C-20273AAD7F36}" type="sibTrans" cxnId="{D4E5062F-1878-423B-944A-A1E627F5AF58}">
      <dgm:prSet/>
      <dgm:spPr>
        <a:ln w="15875">
          <a:solidFill>
            <a:schemeClr val="accent6"/>
          </a:solidFill>
        </a:ln>
      </dgm:spPr>
      <dgm:t>
        <a:bodyPr/>
        <a:lstStyle/>
        <a:p>
          <a:endParaRPr lang="es-ES" sz="1200" b="1">
            <a:latin typeface="Bahnschrift SemiCondensed" panose="020B0502040204020203" pitchFamily="34" charset="0"/>
          </a:endParaRPr>
        </a:p>
      </dgm:t>
    </dgm:pt>
    <dgm:pt modelId="{203330BD-098F-447B-994E-2F337974911F}">
      <dgm:prSet phldrT="[Texto]" custT="1"/>
      <dgm:spPr>
        <a:ln>
          <a:noFill/>
        </a:ln>
      </dgm:spPr>
      <dgm:t>
        <a:bodyPr/>
        <a:lstStyle/>
        <a:p>
          <a:r>
            <a:rPr lang="es-ES" sz="1200" b="1" dirty="0" err="1">
              <a:latin typeface="Bahnschrift SemiCondensed" panose="020B0502040204020203" pitchFamily="34" charset="0"/>
            </a:rPr>
            <a:t>Stigmatized</a:t>
          </a:r>
          <a:r>
            <a:rPr lang="es-ES" sz="1200" b="1" dirty="0">
              <a:latin typeface="Bahnschrift SemiCondensed" panose="020B0502040204020203" pitchFamily="34" charset="0"/>
            </a:rPr>
            <a:t> </a:t>
          </a:r>
          <a:r>
            <a:rPr lang="es-ES" sz="1200" b="1" dirty="0" err="1">
              <a:latin typeface="Bahnschrift SemiCondensed" panose="020B0502040204020203" pitchFamily="34" charset="0"/>
            </a:rPr>
            <a:t>alternative</a:t>
          </a:r>
          <a:r>
            <a:rPr lang="es-ES" sz="1200" b="1" dirty="0">
              <a:latin typeface="Bahnschrift SemiCondensed" panose="020B0502040204020203" pitchFamily="34" charset="0"/>
            </a:rPr>
            <a:t> </a:t>
          </a:r>
          <a:r>
            <a:rPr lang="es-ES" sz="1200" b="1" dirty="0" err="1">
              <a:latin typeface="Bahnschrift SemiCondensed" panose="020B0502040204020203" pitchFamily="34" charset="0"/>
            </a:rPr>
            <a:t>modes</a:t>
          </a:r>
          <a:endParaRPr lang="es-ES" sz="1200" b="1" dirty="0">
            <a:latin typeface="Bahnschrift SemiCondensed" panose="020B0502040204020203" pitchFamily="34" charset="0"/>
          </a:endParaRPr>
        </a:p>
      </dgm:t>
    </dgm:pt>
    <dgm:pt modelId="{2EFA1C53-EDE1-47C9-A1A5-6F6558AD658A}" type="parTrans" cxnId="{2D9A0838-D9B7-4E65-99FC-26BDD0DB34B1}">
      <dgm:prSet/>
      <dgm:spPr/>
      <dgm:t>
        <a:bodyPr/>
        <a:lstStyle/>
        <a:p>
          <a:endParaRPr lang="es-ES" sz="1200" b="1">
            <a:latin typeface="Bahnschrift SemiCondensed" panose="020B0502040204020203" pitchFamily="34" charset="0"/>
          </a:endParaRPr>
        </a:p>
      </dgm:t>
    </dgm:pt>
    <dgm:pt modelId="{6C35ADFC-A2E3-4DA1-8D74-CB844559921B}" type="sibTrans" cxnId="{2D9A0838-D9B7-4E65-99FC-26BDD0DB34B1}">
      <dgm:prSet/>
      <dgm:spPr>
        <a:ln w="15875">
          <a:solidFill>
            <a:schemeClr val="accent6"/>
          </a:solidFill>
        </a:ln>
      </dgm:spPr>
      <dgm:t>
        <a:bodyPr/>
        <a:lstStyle/>
        <a:p>
          <a:endParaRPr lang="es-ES" sz="1200" b="1">
            <a:latin typeface="Bahnschrift SemiCondensed" panose="020B0502040204020203" pitchFamily="34" charset="0"/>
          </a:endParaRPr>
        </a:p>
      </dgm:t>
    </dgm:pt>
    <dgm:pt modelId="{F46AD03B-8F2C-4AA3-A8D8-FB9A3BCD2DAF}">
      <dgm:prSet phldrT="[Texto]" custT="1"/>
      <dgm:spPr>
        <a:ln>
          <a:noFill/>
        </a:ln>
      </dgm:spPr>
      <dgm:t>
        <a:bodyPr/>
        <a:lstStyle/>
        <a:p>
          <a:r>
            <a:rPr lang="es-ES" sz="1200" b="1" dirty="0" err="1">
              <a:latin typeface="Bahnschrift SemiCondensed" panose="020B0502040204020203" pitchFamily="34" charset="0"/>
            </a:rPr>
            <a:t>Suburbanization</a:t>
          </a:r>
          <a:r>
            <a:rPr lang="es-ES" sz="1200" b="1" dirty="0">
              <a:latin typeface="Bahnschrift SemiCondensed" panose="020B0502040204020203" pitchFamily="34" charset="0"/>
            </a:rPr>
            <a:t> and </a:t>
          </a:r>
          <a:r>
            <a:rPr lang="es-ES" sz="1200" b="1" dirty="0" err="1">
              <a:latin typeface="Bahnschrift SemiCondensed" panose="020B0502040204020203" pitchFamily="34" charset="0"/>
            </a:rPr>
            <a:t>degraded</a:t>
          </a:r>
          <a:r>
            <a:rPr lang="es-ES" sz="1200" b="1" dirty="0">
              <a:latin typeface="Bahnschrift SemiCondensed" panose="020B0502040204020203" pitchFamily="34" charset="0"/>
            </a:rPr>
            <a:t> </a:t>
          </a:r>
          <a:r>
            <a:rPr lang="es-ES" sz="1200" b="1" dirty="0" err="1">
              <a:latin typeface="Bahnschrift SemiCondensed" panose="020B0502040204020203" pitchFamily="34" charset="0"/>
            </a:rPr>
            <a:t>cities</a:t>
          </a:r>
          <a:endParaRPr lang="es-ES" sz="1200" b="1" dirty="0">
            <a:latin typeface="Bahnschrift SemiCondensed" panose="020B0502040204020203" pitchFamily="34" charset="0"/>
          </a:endParaRPr>
        </a:p>
      </dgm:t>
    </dgm:pt>
    <dgm:pt modelId="{1D2D33EF-C748-4FEF-8F37-C9FDAC750920}" type="parTrans" cxnId="{A6563520-DDB7-45E1-84C4-5884724490F2}">
      <dgm:prSet/>
      <dgm:spPr/>
      <dgm:t>
        <a:bodyPr/>
        <a:lstStyle/>
        <a:p>
          <a:endParaRPr lang="es-ES" sz="1200" b="1">
            <a:latin typeface="Bahnschrift SemiCondensed" panose="020B0502040204020203" pitchFamily="34" charset="0"/>
          </a:endParaRPr>
        </a:p>
      </dgm:t>
    </dgm:pt>
    <dgm:pt modelId="{CB8F5CC8-2EF2-4074-9E18-FF10876C54A6}" type="sibTrans" cxnId="{A6563520-DDB7-45E1-84C4-5884724490F2}">
      <dgm:prSet/>
      <dgm:spPr>
        <a:ln w="15875">
          <a:solidFill>
            <a:schemeClr val="accent6"/>
          </a:solidFill>
        </a:ln>
      </dgm:spPr>
      <dgm:t>
        <a:bodyPr/>
        <a:lstStyle/>
        <a:p>
          <a:endParaRPr lang="es-ES" sz="1200" b="1">
            <a:latin typeface="Bahnschrift SemiCondensed" panose="020B0502040204020203" pitchFamily="34" charset="0"/>
          </a:endParaRPr>
        </a:p>
      </dgm:t>
    </dgm:pt>
    <dgm:pt modelId="{A57260C7-F500-496A-9708-85F49B60F5B3}">
      <dgm:prSet phldrT="[Texto]" custT="1"/>
      <dgm:spPr>
        <a:ln>
          <a:noFill/>
        </a:ln>
      </dgm:spPr>
      <dgm:t>
        <a:bodyPr/>
        <a:lstStyle/>
        <a:p>
          <a:pPr algn="ctr"/>
          <a:r>
            <a:rPr lang="en-US" sz="1200" b="1" dirty="0">
              <a:latin typeface="Bahnschrift SemiCondensed" panose="020B0502040204020203" pitchFamily="34" charset="0"/>
            </a:rPr>
            <a:t>Land use planning is car-oriented</a:t>
          </a:r>
          <a:endParaRPr lang="es-ES" sz="1200" b="1" dirty="0">
            <a:latin typeface="Bahnschrift SemiCondensed" panose="020B0502040204020203" pitchFamily="34" charset="0"/>
          </a:endParaRPr>
        </a:p>
      </dgm:t>
    </dgm:pt>
    <dgm:pt modelId="{F340FAF7-EDE5-492E-B522-A1FC61FB3032}" type="parTrans" cxnId="{FBF320FC-72A2-44AF-9779-DBA4127FEFA2}">
      <dgm:prSet/>
      <dgm:spPr/>
      <dgm:t>
        <a:bodyPr/>
        <a:lstStyle/>
        <a:p>
          <a:endParaRPr lang="es-ES" sz="1200" b="1">
            <a:latin typeface="Bahnschrift SemiCondensed" panose="020B0502040204020203" pitchFamily="34" charset="0"/>
          </a:endParaRPr>
        </a:p>
      </dgm:t>
    </dgm:pt>
    <dgm:pt modelId="{CA372CAF-E69E-4BBF-8BEA-5B8BBAB7E069}" type="sibTrans" cxnId="{FBF320FC-72A2-44AF-9779-DBA4127FEFA2}">
      <dgm:prSet/>
      <dgm:spPr>
        <a:ln w="15875">
          <a:solidFill>
            <a:schemeClr val="accent6"/>
          </a:solidFill>
        </a:ln>
      </dgm:spPr>
      <dgm:t>
        <a:bodyPr/>
        <a:lstStyle/>
        <a:p>
          <a:endParaRPr lang="es-ES" sz="1200" b="1">
            <a:latin typeface="Bahnschrift SemiCondensed" panose="020B0502040204020203" pitchFamily="34" charset="0"/>
          </a:endParaRPr>
        </a:p>
      </dgm:t>
    </dgm:pt>
    <dgm:pt modelId="{C5666CC3-FF60-44C7-B0C2-090C15BAEF79}">
      <dgm:prSet phldrT="[Texto]" custT="1"/>
      <dgm:spPr>
        <a:ln>
          <a:noFill/>
        </a:ln>
      </dgm:spPr>
      <dgm:t>
        <a:bodyPr/>
        <a:lstStyle/>
        <a:p>
          <a:r>
            <a:rPr lang="es-ES" sz="1200" b="1" dirty="0" err="1">
              <a:latin typeface="Bahnschrift SemiCondensed" panose="020B0502040204020203" pitchFamily="34" charset="0"/>
            </a:rPr>
            <a:t>Abundant</a:t>
          </a:r>
          <a:r>
            <a:rPr lang="es-ES" sz="1200" b="1" dirty="0">
              <a:latin typeface="Bahnschrift SemiCondensed" panose="020B0502040204020203" pitchFamily="34" charset="0"/>
            </a:rPr>
            <a:t> parking </a:t>
          </a:r>
          <a:r>
            <a:rPr lang="es-ES" sz="1200" b="1" dirty="0" err="1">
              <a:latin typeface="Bahnschrift SemiCondensed" panose="020B0502040204020203" pitchFamily="34" charset="0"/>
            </a:rPr>
            <a:t>availability</a:t>
          </a:r>
          <a:endParaRPr lang="es-ES" sz="1200" b="1" dirty="0">
            <a:latin typeface="Bahnschrift SemiCondensed" panose="020B0502040204020203" pitchFamily="34" charset="0"/>
          </a:endParaRPr>
        </a:p>
      </dgm:t>
    </dgm:pt>
    <dgm:pt modelId="{E74DFC31-2604-4CD7-9422-0ACB36FDD157}" type="parTrans" cxnId="{471334EF-EE69-4407-A8E7-E16E4212F736}">
      <dgm:prSet/>
      <dgm:spPr/>
      <dgm:t>
        <a:bodyPr/>
        <a:lstStyle/>
        <a:p>
          <a:endParaRPr lang="es-ES" sz="1200" b="1">
            <a:latin typeface="Bahnschrift SemiCondensed" panose="020B0502040204020203" pitchFamily="34" charset="0"/>
          </a:endParaRPr>
        </a:p>
      </dgm:t>
    </dgm:pt>
    <dgm:pt modelId="{8CE70E82-56AF-4392-9184-04EB12220F31}" type="sibTrans" cxnId="{471334EF-EE69-4407-A8E7-E16E4212F736}">
      <dgm:prSet/>
      <dgm:spPr>
        <a:ln w="15875">
          <a:solidFill>
            <a:schemeClr val="accent6"/>
          </a:solidFill>
        </a:ln>
      </dgm:spPr>
      <dgm:t>
        <a:bodyPr/>
        <a:lstStyle/>
        <a:p>
          <a:endParaRPr lang="es-ES" sz="1200" b="1">
            <a:latin typeface="Bahnschrift SemiCondensed" panose="020B0502040204020203" pitchFamily="34" charset="0"/>
          </a:endParaRPr>
        </a:p>
      </dgm:t>
    </dgm:pt>
    <dgm:pt modelId="{3EAF7A92-F1FC-4EEF-A174-25C77844D03E}">
      <dgm:prSet phldrT="[Texto]" custT="1"/>
      <dgm:spPr>
        <a:ln>
          <a:noFill/>
        </a:ln>
      </dgm:spPr>
      <dgm:t>
        <a:bodyPr/>
        <a:lstStyle/>
        <a:p>
          <a:r>
            <a:rPr lang="es-ES" sz="1200" b="1" dirty="0" err="1">
              <a:latin typeface="Bahnschrift SemiCondensed" panose="020B0502040204020203" pitchFamily="34" charset="0"/>
            </a:rPr>
            <a:t>Patterns</a:t>
          </a:r>
          <a:r>
            <a:rPr lang="es-ES" sz="1200" b="1" dirty="0">
              <a:latin typeface="Bahnschrift SemiCondensed" panose="020B0502040204020203" pitchFamily="34" charset="0"/>
            </a:rPr>
            <a:t> </a:t>
          </a:r>
          <a:r>
            <a:rPr lang="es-ES" sz="1200" b="1" dirty="0" err="1">
              <a:latin typeface="Bahnschrift SemiCondensed" panose="020B0502040204020203" pitchFamily="34" charset="0"/>
            </a:rPr>
            <a:t>of</a:t>
          </a:r>
          <a:r>
            <a:rPr lang="es-ES" sz="1200" b="1" dirty="0">
              <a:latin typeface="Bahnschrift SemiCondensed" panose="020B0502040204020203" pitchFamily="34" charset="0"/>
            </a:rPr>
            <a:t> </a:t>
          </a:r>
          <a:r>
            <a:rPr lang="es-ES" sz="1200" b="1" dirty="0" err="1">
              <a:latin typeface="Bahnschrift SemiCondensed" panose="020B0502040204020203" pitchFamily="34" charset="0"/>
            </a:rPr>
            <a:t>scattered</a:t>
          </a:r>
          <a:r>
            <a:rPr lang="es-ES" sz="1200" b="1" dirty="0">
              <a:latin typeface="Bahnschrift SemiCondensed" panose="020B0502040204020203" pitchFamily="34" charset="0"/>
            </a:rPr>
            <a:t> </a:t>
          </a:r>
          <a:r>
            <a:rPr lang="es-ES" sz="1200" b="1" dirty="0" err="1">
              <a:latin typeface="Bahnschrift SemiCondensed" panose="020B0502040204020203" pitchFamily="34" charset="0"/>
            </a:rPr>
            <a:t>developments</a:t>
          </a:r>
          <a:endParaRPr lang="es-ES" sz="1200" b="1" dirty="0">
            <a:latin typeface="Bahnschrift SemiCondensed" panose="020B0502040204020203" pitchFamily="34" charset="0"/>
          </a:endParaRPr>
        </a:p>
      </dgm:t>
    </dgm:pt>
    <dgm:pt modelId="{D1AA6097-8311-4F49-806D-ED29E1B0E8C5}" type="parTrans" cxnId="{81C6F96E-4BE3-43C7-B3C7-0671CE086C87}">
      <dgm:prSet/>
      <dgm:spPr/>
      <dgm:t>
        <a:bodyPr/>
        <a:lstStyle/>
        <a:p>
          <a:endParaRPr lang="es-ES" sz="1200" b="1">
            <a:latin typeface="Bahnschrift SemiCondensed" panose="020B0502040204020203" pitchFamily="34" charset="0"/>
          </a:endParaRPr>
        </a:p>
      </dgm:t>
    </dgm:pt>
    <dgm:pt modelId="{1906EE24-B2D9-43FF-A93A-47E74E71A344}" type="sibTrans" cxnId="{81C6F96E-4BE3-43C7-B3C7-0671CE086C87}">
      <dgm:prSet/>
      <dgm:spPr>
        <a:ln w="15875">
          <a:solidFill>
            <a:schemeClr val="accent6"/>
          </a:solidFill>
        </a:ln>
      </dgm:spPr>
      <dgm:t>
        <a:bodyPr/>
        <a:lstStyle/>
        <a:p>
          <a:endParaRPr lang="es-ES" sz="1200" b="1">
            <a:latin typeface="Bahnschrift SemiCondensed" panose="020B0502040204020203" pitchFamily="34" charset="0"/>
          </a:endParaRPr>
        </a:p>
      </dgm:t>
    </dgm:pt>
    <dgm:pt modelId="{1CB85B86-A9CC-4A50-B065-E58E8A638174}">
      <dgm:prSet phldrT="[Texto]" custT="1"/>
      <dgm:spPr>
        <a:ln>
          <a:noFill/>
        </a:ln>
      </dgm:spPr>
      <dgm:t>
        <a:bodyPr/>
        <a:lstStyle/>
        <a:p>
          <a:r>
            <a:rPr lang="es-ES" sz="1200" b="1" dirty="0">
              <a:latin typeface="Bahnschrift SemiCondensed" panose="020B0502040204020203" pitchFamily="34" charset="0"/>
            </a:rPr>
            <a:t>Car-</a:t>
          </a:r>
          <a:r>
            <a:rPr lang="es-ES" sz="1200" b="1" dirty="0" err="1">
              <a:latin typeface="Bahnschrift SemiCondensed" panose="020B0502040204020203" pitchFamily="34" charset="0"/>
            </a:rPr>
            <a:t>centric</a:t>
          </a:r>
          <a:r>
            <a:rPr lang="es-ES" sz="1200" b="1" dirty="0">
              <a:latin typeface="Bahnschrift SemiCondensed" panose="020B0502040204020203" pitchFamily="34" charset="0"/>
            </a:rPr>
            <a:t> </a:t>
          </a:r>
          <a:r>
            <a:rPr lang="es-ES" sz="1200" b="1" dirty="0" err="1">
              <a:latin typeface="Bahnschrift SemiCondensed" panose="020B0502040204020203" pitchFamily="34" charset="0"/>
            </a:rPr>
            <a:t>transportation</a:t>
          </a:r>
          <a:r>
            <a:rPr lang="es-ES" sz="1200" b="1" dirty="0">
              <a:latin typeface="Bahnschrift SemiCondensed" panose="020B0502040204020203" pitchFamily="34" charset="0"/>
            </a:rPr>
            <a:t> </a:t>
          </a:r>
          <a:r>
            <a:rPr lang="es-ES" sz="1200" b="1" dirty="0" err="1">
              <a:latin typeface="Bahnschrift SemiCondensed" panose="020B0502040204020203" pitchFamily="34" charset="0"/>
            </a:rPr>
            <a:t>planning</a:t>
          </a:r>
          <a:endParaRPr lang="es-ES" sz="1200" b="1" dirty="0">
            <a:latin typeface="Bahnschrift SemiCondensed" panose="020B0502040204020203" pitchFamily="34" charset="0"/>
          </a:endParaRPr>
        </a:p>
      </dgm:t>
    </dgm:pt>
    <dgm:pt modelId="{C500EBED-A1E6-4EB9-A5A0-515698C7F2EB}" type="sibTrans" cxnId="{2E30F429-E6A5-468C-9405-6C9EC20F114B}">
      <dgm:prSet/>
      <dgm:spPr>
        <a:ln w="15875">
          <a:solidFill>
            <a:schemeClr val="accent6"/>
          </a:solidFill>
        </a:ln>
      </dgm:spPr>
      <dgm:t>
        <a:bodyPr/>
        <a:lstStyle/>
        <a:p>
          <a:endParaRPr lang="es-ES" sz="1200" b="1">
            <a:latin typeface="Bahnschrift SemiCondensed" panose="020B0502040204020203" pitchFamily="34" charset="0"/>
          </a:endParaRPr>
        </a:p>
      </dgm:t>
    </dgm:pt>
    <dgm:pt modelId="{50FB7F7C-6E2B-4CA2-A7ED-20FED9D5708F}" type="parTrans" cxnId="{2E30F429-E6A5-468C-9405-6C9EC20F114B}">
      <dgm:prSet/>
      <dgm:spPr/>
      <dgm:t>
        <a:bodyPr/>
        <a:lstStyle/>
        <a:p>
          <a:endParaRPr lang="es-ES" sz="1200" b="1">
            <a:latin typeface="Bahnschrift SemiCondensed" panose="020B0502040204020203" pitchFamily="34" charset="0"/>
          </a:endParaRPr>
        </a:p>
      </dgm:t>
    </dgm:pt>
    <dgm:pt modelId="{B6F452F9-479D-4342-8B09-DACC82BEF869}" type="pres">
      <dgm:prSet presAssocID="{B35496D7-5BC3-4C05-AC12-C4F3DA90DA0E}" presName="cycle" presStyleCnt="0">
        <dgm:presLayoutVars>
          <dgm:dir/>
          <dgm:resizeHandles val="exact"/>
        </dgm:presLayoutVars>
      </dgm:prSet>
      <dgm:spPr/>
    </dgm:pt>
    <dgm:pt modelId="{63F47B70-4394-4647-BF39-781274E7A332}" type="pres">
      <dgm:prSet presAssocID="{3F678F83-DA76-4A00-8F76-B0A7F85043BA}" presName="node" presStyleLbl="node1" presStyleIdx="0" presStyleCnt="8" custScaleX="134759">
        <dgm:presLayoutVars>
          <dgm:bulletEnabled val="1"/>
        </dgm:presLayoutVars>
      </dgm:prSet>
      <dgm:spPr/>
    </dgm:pt>
    <dgm:pt modelId="{6D971103-D4A2-4532-BE31-33C0507A1C3F}" type="pres">
      <dgm:prSet presAssocID="{3F678F83-DA76-4A00-8F76-B0A7F85043BA}" presName="spNode" presStyleCnt="0"/>
      <dgm:spPr/>
    </dgm:pt>
    <dgm:pt modelId="{E2BB51CF-7AF5-44E1-90B7-724606F3DB9F}" type="pres">
      <dgm:prSet presAssocID="{3BF5E962-041F-44EA-AD53-25B922A5452E}" presName="sibTrans" presStyleLbl="sibTrans1D1" presStyleIdx="0" presStyleCnt="8"/>
      <dgm:spPr/>
    </dgm:pt>
    <dgm:pt modelId="{73FD4B7B-0AD4-43F7-8534-65B311F4B5E7}" type="pres">
      <dgm:prSet presAssocID="{1CB85B86-A9CC-4A50-B065-E58E8A638174}" presName="node" presStyleLbl="node1" presStyleIdx="1" presStyleCnt="8" custScaleX="163273">
        <dgm:presLayoutVars>
          <dgm:bulletEnabled val="1"/>
        </dgm:presLayoutVars>
      </dgm:prSet>
      <dgm:spPr/>
    </dgm:pt>
    <dgm:pt modelId="{50D3EC2D-1DD3-4231-AE1A-12C98D43EA0B}" type="pres">
      <dgm:prSet presAssocID="{1CB85B86-A9CC-4A50-B065-E58E8A638174}" presName="spNode" presStyleCnt="0"/>
      <dgm:spPr/>
    </dgm:pt>
    <dgm:pt modelId="{A3F11751-973D-4FA1-B878-B3286A1D96D7}" type="pres">
      <dgm:prSet presAssocID="{C500EBED-A1E6-4EB9-A5A0-515698C7F2EB}" presName="sibTrans" presStyleLbl="sibTrans1D1" presStyleIdx="1" presStyleCnt="8"/>
      <dgm:spPr/>
    </dgm:pt>
    <dgm:pt modelId="{627EFE4B-5692-4442-92AA-358BDF6F007D}" type="pres">
      <dgm:prSet presAssocID="{403C3159-CD2F-4DF5-8932-77A139FC5782}" presName="node" presStyleLbl="node1" presStyleIdx="2" presStyleCnt="8" custScaleX="142738">
        <dgm:presLayoutVars>
          <dgm:bulletEnabled val="1"/>
        </dgm:presLayoutVars>
      </dgm:prSet>
      <dgm:spPr/>
    </dgm:pt>
    <dgm:pt modelId="{1B78D730-BF56-4726-9B38-83D5368E2D39}" type="pres">
      <dgm:prSet presAssocID="{403C3159-CD2F-4DF5-8932-77A139FC5782}" presName="spNode" presStyleCnt="0"/>
      <dgm:spPr/>
    </dgm:pt>
    <dgm:pt modelId="{DB6B8B64-1D64-49E0-A495-497839B1A6A4}" type="pres">
      <dgm:prSet presAssocID="{49952F1D-8EC7-454A-9A2C-20273AAD7F36}" presName="sibTrans" presStyleLbl="sibTrans1D1" presStyleIdx="2" presStyleCnt="8"/>
      <dgm:spPr/>
    </dgm:pt>
    <dgm:pt modelId="{2262847C-EFA1-4125-865D-9E2D6A55E9CF}" type="pres">
      <dgm:prSet presAssocID="{203330BD-098F-447B-994E-2F337974911F}" presName="node" presStyleLbl="node1" presStyleIdx="3" presStyleCnt="8" custScaleX="110090">
        <dgm:presLayoutVars>
          <dgm:bulletEnabled val="1"/>
        </dgm:presLayoutVars>
      </dgm:prSet>
      <dgm:spPr/>
    </dgm:pt>
    <dgm:pt modelId="{EB666612-F4CC-4F50-9FAE-3E0C5077AAAF}" type="pres">
      <dgm:prSet presAssocID="{203330BD-098F-447B-994E-2F337974911F}" presName="spNode" presStyleCnt="0"/>
      <dgm:spPr/>
    </dgm:pt>
    <dgm:pt modelId="{A6C3AEF7-DDC9-4F72-929D-4DA53E5B0101}" type="pres">
      <dgm:prSet presAssocID="{6C35ADFC-A2E3-4DA1-8D74-CB844559921B}" presName="sibTrans" presStyleLbl="sibTrans1D1" presStyleIdx="3" presStyleCnt="8"/>
      <dgm:spPr/>
    </dgm:pt>
    <dgm:pt modelId="{3A4F5264-D2AD-40BA-A878-8F19E5C7ECEC}" type="pres">
      <dgm:prSet presAssocID="{F46AD03B-8F2C-4AA3-A8D8-FB9A3BCD2DAF}" presName="node" presStyleLbl="node1" presStyleIdx="4" presStyleCnt="8" custScaleX="164380">
        <dgm:presLayoutVars>
          <dgm:bulletEnabled val="1"/>
        </dgm:presLayoutVars>
      </dgm:prSet>
      <dgm:spPr/>
    </dgm:pt>
    <dgm:pt modelId="{E5C5B04D-0C78-43FB-94B9-66EA90BB1E16}" type="pres">
      <dgm:prSet presAssocID="{F46AD03B-8F2C-4AA3-A8D8-FB9A3BCD2DAF}" presName="spNode" presStyleCnt="0"/>
      <dgm:spPr/>
    </dgm:pt>
    <dgm:pt modelId="{BB63C202-8230-4AE9-B823-31515F016990}" type="pres">
      <dgm:prSet presAssocID="{CB8F5CC8-2EF2-4074-9E18-FF10876C54A6}" presName="sibTrans" presStyleLbl="sibTrans1D1" presStyleIdx="4" presStyleCnt="8"/>
      <dgm:spPr/>
    </dgm:pt>
    <dgm:pt modelId="{63E81243-67B0-499B-BD76-33A916B4E6E4}" type="pres">
      <dgm:prSet presAssocID="{A57260C7-F500-496A-9708-85F49B60F5B3}" presName="node" presStyleLbl="node1" presStyleIdx="5" presStyleCnt="8" custScaleX="135766">
        <dgm:presLayoutVars>
          <dgm:bulletEnabled val="1"/>
        </dgm:presLayoutVars>
      </dgm:prSet>
      <dgm:spPr/>
    </dgm:pt>
    <dgm:pt modelId="{57C2EEE7-A118-4964-88BD-3187E0C8DEBD}" type="pres">
      <dgm:prSet presAssocID="{A57260C7-F500-496A-9708-85F49B60F5B3}" presName="spNode" presStyleCnt="0"/>
      <dgm:spPr/>
    </dgm:pt>
    <dgm:pt modelId="{544ED882-797A-422F-A07A-305FA1507E4B}" type="pres">
      <dgm:prSet presAssocID="{CA372CAF-E69E-4BBF-8BEA-5B8BBAB7E069}" presName="sibTrans" presStyleLbl="sibTrans1D1" presStyleIdx="5" presStyleCnt="8"/>
      <dgm:spPr/>
    </dgm:pt>
    <dgm:pt modelId="{2764FA07-9403-4071-BF9B-1D4DCED97EBE}" type="pres">
      <dgm:prSet presAssocID="{C5666CC3-FF60-44C7-B0C2-090C15BAEF79}" presName="node" presStyleLbl="node1" presStyleIdx="6" presStyleCnt="8" custScaleX="112206">
        <dgm:presLayoutVars>
          <dgm:bulletEnabled val="1"/>
        </dgm:presLayoutVars>
      </dgm:prSet>
      <dgm:spPr/>
    </dgm:pt>
    <dgm:pt modelId="{4186066E-9625-4DE2-AFA6-1BDB40A3600E}" type="pres">
      <dgm:prSet presAssocID="{C5666CC3-FF60-44C7-B0C2-090C15BAEF79}" presName="spNode" presStyleCnt="0"/>
      <dgm:spPr/>
    </dgm:pt>
    <dgm:pt modelId="{0EDDA362-817E-4E7A-AD82-2666D29ACED2}" type="pres">
      <dgm:prSet presAssocID="{8CE70E82-56AF-4392-9184-04EB12220F31}" presName="sibTrans" presStyleLbl="sibTrans1D1" presStyleIdx="6" presStyleCnt="8"/>
      <dgm:spPr/>
    </dgm:pt>
    <dgm:pt modelId="{437E45D7-6D5E-4B65-8591-108377112BCC}" type="pres">
      <dgm:prSet presAssocID="{3EAF7A92-F1FC-4EEF-A174-25C77844D03E}" presName="node" presStyleLbl="node1" presStyleIdx="7" presStyleCnt="8" custScaleX="131116">
        <dgm:presLayoutVars>
          <dgm:bulletEnabled val="1"/>
        </dgm:presLayoutVars>
      </dgm:prSet>
      <dgm:spPr/>
    </dgm:pt>
    <dgm:pt modelId="{A4CDA978-447A-472C-A35A-7F97DC7D94AD}" type="pres">
      <dgm:prSet presAssocID="{3EAF7A92-F1FC-4EEF-A174-25C77844D03E}" presName="spNode" presStyleCnt="0"/>
      <dgm:spPr/>
    </dgm:pt>
    <dgm:pt modelId="{239028E4-C4B3-4772-90C3-9C8868829413}" type="pres">
      <dgm:prSet presAssocID="{1906EE24-B2D9-43FF-A93A-47E74E71A344}" presName="sibTrans" presStyleLbl="sibTrans1D1" presStyleIdx="7" presStyleCnt="8"/>
      <dgm:spPr/>
    </dgm:pt>
  </dgm:ptLst>
  <dgm:cxnLst>
    <dgm:cxn modelId="{9F9CFF0B-2F5A-40F1-855E-47B20508B215}" srcId="{B35496D7-5BC3-4C05-AC12-C4F3DA90DA0E}" destId="{3F678F83-DA76-4A00-8F76-B0A7F85043BA}" srcOrd="0" destOrd="0" parTransId="{E808D634-4649-4B66-ADEA-D242C0AD0751}" sibTransId="{3BF5E962-041F-44EA-AD53-25B922A5452E}"/>
    <dgm:cxn modelId="{B36AA413-0204-4907-BA1D-CA73C6A74282}" type="presOf" srcId="{C5666CC3-FF60-44C7-B0C2-090C15BAEF79}" destId="{2764FA07-9403-4071-BF9B-1D4DCED97EBE}" srcOrd="0" destOrd="0" presId="urn:microsoft.com/office/officeart/2005/8/layout/cycle5"/>
    <dgm:cxn modelId="{A6563520-DDB7-45E1-84C4-5884724490F2}" srcId="{B35496D7-5BC3-4C05-AC12-C4F3DA90DA0E}" destId="{F46AD03B-8F2C-4AA3-A8D8-FB9A3BCD2DAF}" srcOrd="4" destOrd="0" parTransId="{1D2D33EF-C748-4FEF-8F37-C9FDAC750920}" sibTransId="{CB8F5CC8-2EF2-4074-9E18-FF10876C54A6}"/>
    <dgm:cxn modelId="{2E30F429-E6A5-468C-9405-6C9EC20F114B}" srcId="{B35496D7-5BC3-4C05-AC12-C4F3DA90DA0E}" destId="{1CB85B86-A9CC-4A50-B065-E58E8A638174}" srcOrd="1" destOrd="0" parTransId="{50FB7F7C-6E2B-4CA2-A7ED-20FED9D5708F}" sibTransId="{C500EBED-A1E6-4EB9-A5A0-515698C7F2EB}"/>
    <dgm:cxn modelId="{5278EB2E-70C5-4A47-9A78-BF986E4C70CB}" type="presOf" srcId="{A57260C7-F500-496A-9708-85F49B60F5B3}" destId="{63E81243-67B0-499B-BD76-33A916B4E6E4}" srcOrd="0" destOrd="0" presId="urn:microsoft.com/office/officeart/2005/8/layout/cycle5"/>
    <dgm:cxn modelId="{D4E5062F-1878-423B-944A-A1E627F5AF58}" srcId="{B35496D7-5BC3-4C05-AC12-C4F3DA90DA0E}" destId="{403C3159-CD2F-4DF5-8932-77A139FC5782}" srcOrd="2" destOrd="0" parTransId="{9E70E48C-35CD-4C64-906C-929953E9F3D6}" sibTransId="{49952F1D-8EC7-454A-9A2C-20273AAD7F36}"/>
    <dgm:cxn modelId="{2D9A0838-D9B7-4E65-99FC-26BDD0DB34B1}" srcId="{B35496D7-5BC3-4C05-AC12-C4F3DA90DA0E}" destId="{203330BD-098F-447B-994E-2F337974911F}" srcOrd="3" destOrd="0" parTransId="{2EFA1C53-EDE1-47C9-A1A5-6F6558AD658A}" sibTransId="{6C35ADFC-A2E3-4DA1-8D74-CB844559921B}"/>
    <dgm:cxn modelId="{8FD3D83F-9248-458D-9871-5675DAF3B248}" type="presOf" srcId="{3EAF7A92-F1FC-4EEF-A174-25C77844D03E}" destId="{437E45D7-6D5E-4B65-8591-108377112BCC}" srcOrd="0" destOrd="0" presId="urn:microsoft.com/office/officeart/2005/8/layout/cycle5"/>
    <dgm:cxn modelId="{7349F864-99BF-40EF-A746-8E1F9A4A1CCF}" type="presOf" srcId="{B35496D7-5BC3-4C05-AC12-C4F3DA90DA0E}" destId="{B6F452F9-479D-4342-8B09-DACC82BEF869}" srcOrd="0" destOrd="0" presId="urn:microsoft.com/office/officeart/2005/8/layout/cycle5"/>
    <dgm:cxn modelId="{1AEF784B-6516-4AAD-A9CA-5113AFCE50C1}" type="presOf" srcId="{49952F1D-8EC7-454A-9A2C-20273AAD7F36}" destId="{DB6B8B64-1D64-49E0-A495-497839B1A6A4}" srcOrd="0" destOrd="0" presId="urn:microsoft.com/office/officeart/2005/8/layout/cycle5"/>
    <dgm:cxn modelId="{81C6F96E-4BE3-43C7-B3C7-0671CE086C87}" srcId="{B35496D7-5BC3-4C05-AC12-C4F3DA90DA0E}" destId="{3EAF7A92-F1FC-4EEF-A174-25C77844D03E}" srcOrd="7" destOrd="0" parTransId="{D1AA6097-8311-4F49-806D-ED29E1B0E8C5}" sibTransId="{1906EE24-B2D9-43FF-A93A-47E74E71A344}"/>
    <dgm:cxn modelId="{8E469D75-36B4-42D6-9CBB-3B19601BC64B}" type="presOf" srcId="{1906EE24-B2D9-43FF-A93A-47E74E71A344}" destId="{239028E4-C4B3-4772-90C3-9C8868829413}" srcOrd="0" destOrd="0" presId="urn:microsoft.com/office/officeart/2005/8/layout/cycle5"/>
    <dgm:cxn modelId="{EF158F78-2069-4F13-A4E7-3C99937F9019}" type="presOf" srcId="{203330BD-098F-447B-994E-2F337974911F}" destId="{2262847C-EFA1-4125-865D-9E2D6A55E9CF}" srcOrd="0" destOrd="0" presId="urn:microsoft.com/office/officeart/2005/8/layout/cycle5"/>
    <dgm:cxn modelId="{2B27A978-99ED-44C0-B105-F30A77A83A14}" type="presOf" srcId="{C500EBED-A1E6-4EB9-A5A0-515698C7F2EB}" destId="{A3F11751-973D-4FA1-B878-B3286A1D96D7}" srcOrd="0" destOrd="0" presId="urn:microsoft.com/office/officeart/2005/8/layout/cycle5"/>
    <dgm:cxn modelId="{8DC8E27F-75FF-4D45-8DCE-F26C3F2F2107}" type="presOf" srcId="{CA372CAF-E69E-4BBF-8BEA-5B8BBAB7E069}" destId="{544ED882-797A-422F-A07A-305FA1507E4B}" srcOrd="0" destOrd="0" presId="urn:microsoft.com/office/officeart/2005/8/layout/cycle5"/>
    <dgm:cxn modelId="{51CED8B1-03A4-47E6-BF1E-C06BA5AC2884}" type="presOf" srcId="{F46AD03B-8F2C-4AA3-A8D8-FB9A3BCD2DAF}" destId="{3A4F5264-D2AD-40BA-A878-8F19E5C7ECEC}" srcOrd="0" destOrd="0" presId="urn:microsoft.com/office/officeart/2005/8/layout/cycle5"/>
    <dgm:cxn modelId="{02DB11D6-D794-442C-9E87-07B5537E30DD}" type="presOf" srcId="{403C3159-CD2F-4DF5-8932-77A139FC5782}" destId="{627EFE4B-5692-4442-92AA-358BDF6F007D}" srcOrd="0" destOrd="0" presId="urn:microsoft.com/office/officeart/2005/8/layout/cycle5"/>
    <dgm:cxn modelId="{BA5F28D8-B7EA-4348-86DF-BE99E4C0FB50}" type="presOf" srcId="{6C35ADFC-A2E3-4DA1-8D74-CB844559921B}" destId="{A6C3AEF7-DDC9-4F72-929D-4DA53E5B0101}" srcOrd="0" destOrd="0" presId="urn:microsoft.com/office/officeart/2005/8/layout/cycle5"/>
    <dgm:cxn modelId="{AC396EE3-AC0D-4BE5-AAC7-86C0763B83B0}" type="presOf" srcId="{1CB85B86-A9CC-4A50-B065-E58E8A638174}" destId="{73FD4B7B-0AD4-43F7-8534-65B311F4B5E7}" srcOrd="0" destOrd="0" presId="urn:microsoft.com/office/officeart/2005/8/layout/cycle5"/>
    <dgm:cxn modelId="{335F3BE8-B19C-4F4B-9B24-0ACF5D541552}" type="presOf" srcId="{8CE70E82-56AF-4392-9184-04EB12220F31}" destId="{0EDDA362-817E-4E7A-AD82-2666D29ACED2}" srcOrd="0" destOrd="0" presId="urn:microsoft.com/office/officeart/2005/8/layout/cycle5"/>
    <dgm:cxn modelId="{471334EF-EE69-4407-A8E7-E16E4212F736}" srcId="{B35496D7-5BC3-4C05-AC12-C4F3DA90DA0E}" destId="{C5666CC3-FF60-44C7-B0C2-090C15BAEF79}" srcOrd="6" destOrd="0" parTransId="{E74DFC31-2604-4CD7-9422-0ACB36FDD157}" sibTransId="{8CE70E82-56AF-4392-9184-04EB12220F31}"/>
    <dgm:cxn modelId="{99EDD0EF-3231-4C5D-BB7C-CE061776350F}" type="presOf" srcId="{CB8F5CC8-2EF2-4074-9E18-FF10876C54A6}" destId="{BB63C202-8230-4AE9-B823-31515F016990}" srcOrd="0" destOrd="0" presId="urn:microsoft.com/office/officeart/2005/8/layout/cycle5"/>
    <dgm:cxn modelId="{5C3D56F8-3BC4-4995-BBB0-809CC2C621E7}" type="presOf" srcId="{3F678F83-DA76-4A00-8F76-B0A7F85043BA}" destId="{63F47B70-4394-4647-BF39-781274E7A332}" srcOrd="0" destOrd="0" presId="urn:microsoft.com/office/officeart/2005/8/layout/cycle5"/>
    <dgm:cxn modelId="{730252FB-A44F-479C-A783-19EF733887BF}" type="presOf" srcId="{3BF5E962-041F-44EA-AD53-25B922A5452E}" destId="{E2BB51CF-7AF5-44E1-90B7-724606F3DB9F}" srcOrd="0" destOrd="0" presId="urn:microsoft.com/office/officeart/2005/8/layout/cycle5"/>
    <dgm:cxn modelId="{FBF320FC-72A2-44AF-9779-DBA4127FEFA2}" srcId="{B35496D7-5BC3-4C05-AC12-C4F3DA90DA0E}" destId="{A57260C7-F500-496A-9708-85F49B60F5B3}" srcOrd="5" destOrd="0" parTransId="{F340FAF7-EDE5-492E-B522-A1FC61FB3032}" sibTransId="{CA372CAF-E69E-4BBF-8BEA-5B8BBAB7E069}"/>
    <dgm:cxn modelId="{1E0D1049-F78A-4E31-84B9-371082635481}" type="presParOf" srcId="{B6F452F9-479D-4342-8B09-DACC82BEF869}" destId="{63F47B70-4394-4647-BF39-781274E7A332}" srcOrd="0" destOrd="0" presId="urn:microsoft.com/office/officeart/2005/8/layout/cycle5"/>
    <dgm:cxn modelId="{11605B00-5798-4368-888F-64D8D32EEB84}" type="presParOf" srcId="{B6F452F9-479D-4342-8B09-DACC82BEF869}" destId="{6D971103-D4A2-4532-BE31-33C0507A1C3F}" srcOrd="1" destOrd="0" presId="urn:microsoft.com/office/officeart/2005/8/layout/cycle5"/>
    <dgm:cxn modelId="{C9F0A1BD-1BD8-4F0C-8DE0-66858C57D072}" type="presParOf" srcId="{B6F452F9-479D-4342-8B09-DACC82BEF869}" destId="{E2BB51CF-7AF5-44E1-90B7-724606F3DB9F}" srcOrd="2" destOrd="0" presId="urn:microsoft.com/office/officeart/2005/8/layout/cycle5"/>
    <dgm:cxn modelId="{6F642BAC-451F-41E2-A754-FEE3C38222B3}" type="presParOf" srcId="{B6F452F9-479D-4342-8B09-DACC82BEF869}" destId="{73FD4B7B-0AD4-43F7-8534-65B311F4B5E7}" srcOrd="3" destOrd="0" presId="urn:microsoft.com/office/officeart/2005/8/layout/cycle5"/>
    <dgm:cxn modelId="{3F683595-759F-4CA3-B1BB-67982D472851}" type="presParOf" srcId="{B6F452F9-479D-4342-8B09-DACC82BEF869}" destId="{50D3EC2D-1DD3-4231-AE1A-12C98D43EA0B}" srcOrd="4" destOrd="0" presId="urn:microsoft.com/office/officeart/2005/8/layout/cycle5"/>
    <dgm:cxn modelId="{1C73901D-B535-4B1F-81BF-ABA90188C7AE}" type="presParOf" srcId="{B6F452F9-479D-4342-8B09-DACC82BEF869}" destId="{A3F11751-973D-4FA1-B878-B3286A1D96D7}" srcOrd="5" destOrd="0" presId="urn:microsoft.com/office/officeart/2005/8/layout/cycle5"/>
    <dgm:cxn modelId="{0CA1360F-AD50-47CF-BF9C-03827703E32E}" type="presParOf" srcId="{B6F452F9-479D-4342-8B09-DACC82BEF869}" destId="{627EFE4B-5692-4442-92AA-358BDF6F007D}" srcOrd="6" destOrd="0" presId="urn:microsoft.com/office/officeart/2005/8/layout/cycle5"/>
    <dgm:cxn modelId="{3D8DBE55-A219-47D8-BB31-B1CCB0A67F76}" type="presParOf" srcId="{B6F452F9-479D-4342-8B09-DACC82BEF869}" destId="{1B78D730-BF56-4726-9B38-83D5368E2D39}" srcOrd="7" destOrd="0" presId="urn:microsoft.com/office/officeart/2005/8/layout/cycle5"/>
    <dgm:cxn modelId="{3703F6E6-D28C-4CF7-9072-101EDD800F4A}" type="presParOf" srcId="{B6F452F9-479D-4342-8B09-DACC82BEF869}" destId="{DB6B8B64-1D64-49E0-A495-497839B1A6A4}" srcOrd="8" destOrd="0" presId="urn:microsoft.com/office/officeart/2005/8/layout/cycle5"/>
    <dgm:cxn modelId="{D8F36ADD-8D1E-4389-A13F-000F5B62CC44}" type="presParOf" srcId="{B6F452F9-479D-4342-8B09-DACC82BEF869}" destId="{2262847C-EFA1-4125-865D-9E2D6A55E9CF}" srcOrd="9" destOrd="0" presId="urn:microsoft.com/office/officeart/2005/8/layout/cycle5"/>
    <dgm:cxn modelId="{4EDE4E36-A63A-46A9-B10A-FCC2DF937F11}" type="presParOf" srcId="{B6F452F9-479D-4342-8B09-DACC82BEF869}" destId="{EB666612-F4CC-4F50-9FAE-3E0C5077AAAF}" srcOrd="10" destOrd="0" presId="urn:microsoft.com/office/officeart/2005/8/layout/cycle5"/>
    <dgm:cxn modelId="{BAAA6361-13CC-483A-AEFF-DC945C33ABA3}" type="presParOf" srcId="{B6F452F9-479D-4342-8B09-DACC82BEF869}" destId="{A6C3AEF7-DDC9-4F72-929D-4DA53E5B0101}" srcOrd="11" destOrd="0" presId="urn:microsoft.com/office/officeart/2005/8/layout/cycle5"/>
    <dgm:cxn modelId="{FC4D0C11-A995-45D3-A0C0-B87ABEF4D1B3}" type="presParOf" srcId="{B6F452F9-479D-4342-8B09-DACC82BEF869}" destId="{3A4F5264-D2AD-40BA-A878-8F19E5C7ECEC}" srcOrd="12" destOrd="0" presId="urn:microsoft.com/office/officeart/2005/8/layout/cycle5"/>
    <dgm:cxn modelId="{A7308A2D-14A6-45FA-89DE-A0F578B991F0}" type="presParOf" srcId="{B6F452F9-479D-4342-8B09-DACC82BEF869}" destId="{E5C5B04D-0C78-43FB-94B9-66EA90BB1E16}" srcOrd="13" destOrd="0" presId="urn:microsoft.com/office/officeart/2005/8/layout/cycle5"/>
    <dgm:cxn modelId="{4DE5D755-50EC-4A29-A2E0-FB0598DFAC04}" type="presParOf" srcId="{B6F452F9-479D-4342-8B09-DACC82BEF869}" destId="{BB63C202-8230-4AE9-B823-31515F016990}" srcOrd="14" destOrd="0" presId="urn:microsoft.com/office/officeart/2005/8/layout/cycle5"/>
    <dgm:cxn modelId="{7FACFAFD-E617-4B58-B072-74E542321AD8}" type="presParOf" srcId="{B6F452F9-479D-4342-8B09-DACC82BEF869}" destId="{63E81243-67B0-499B-BD76-33A916B4E6E4}" srcOrd="15" destOrd="0" presId="urn:microsoft.com/office/officeart/2005/8/layout/cycle5"/>
    <dgm:cxn modelId="{B504A817-FC48-4452-BA5E-498DFE65BBC3}" type="presParOf" srcId="{B6F452F9-479D-4342-8B09-DACC82BEF869}" destId="{57C2EEE7-A118-4964-88BD-3187E0C8DEBD}" srcOrd="16" destOrd="0" presId="urn:microsoft.com/office/officeart/2005/8/layout/cycle5"/>
    <dgm:cxn modelId="{F8F06C96-F84D-4193-A8DA-58DF4DCCBA77}" type="presParOf" srcId="{B6F452F9-479D-4342-8B09-DACC82BEF869}" destId="{544ED882-797A-422F-A07A-305FA1507E4B}" srcOrd="17" destOrd="0" presId="urn:microsoft.com/office/officeart/2005/8/layout/cycle5"/>
    <dgm:cxn modelId="{C84F37E3-6B76-4DAF-B15D-7ECC620AE69C}" type="presParOf" srcId="{B6F452F9-479D-4342-8B09-DACC82BEF869}" destId="{2764FA07-9403-4071-BF9B-1D4DCED97EBE}" srcOrd="18" destOrd="0" presId="urn:microsoft.com/office/officeart/2005/8/layout/cycle5"/>
    <dgm:cxn modelId="{17FE28B7-4EC6-41E6-A9D1-761E6833B4BB}" type="presParOf" srcId="{B6F452F9-479D-4342-8B09-DACC82BEF869}" destId="{4186066E-9625-4DE2-AFA6-1BDB40A3600E}" srcOrd="19" destOrd="0" presId="urn:microsoft.com/office/officeart/2005/8/layout/cycle5"/>
    <dgm:cxn modelId="{EE2D4A16-BB27-43B3-BAB1-BA1717E4B3EB}" type="presParOf" srcId="{B6F452F9-479D-4342-8B09-DACC82BEF869}" destId="{0EDDA362-817E-4E7A-AD82-2666D29ACED2}" srcOrd="20" destOrd="0" presId="urn:microsoft.com/office/officeart/2005/8/layout/cycle5"/>
    <dgm:cxn modelId="{409A4D59-7AA9-4FF5-983B-F94984370234}" type="presParOf" srcId="{B6F452F9-479D-4342-8B09-DACC82BEF869}" destId="{437E45D7-6D5E-4B65-8591-108377112BCC}" srcOrd="21" destOrd="0" presId="urn:microsoft.com/office/officeart/2005/8/layout/cycle5"/>
    <dgm:cxn modelId="{8B32AC98-7D0E-48C8-A3DE-ECACA9D9674E}" type="presParOf" srcId="{B6F452F9-479D-4342-8B09-DACC82BEF869}" destId="{A4CDA978-447A-472C-A35A-7F97DC7D94AD}" srcOrd="22" destOrd="0" presId="urn:microsoft.com/office/officeart/2005/8/layout/cycle5"/>
    <dgm:cxn modelId="{DE3B24FB-DD49-44F3-BD16-4E2DDB3A2389}" type="presParOf" srcId="{B6F452F9-479D-4342-8B09-DACC82BEF869}" destId="{239028E4-C4B3-4772-90C3-9C8868829413}" srcOrd="23" destOrd="0" presId="urn:microsoft.com/office/officeart/2005/8/layout/cycle5"/>
  </dgm:cxnLst>
  <dgm:bg>
    <a:noFill/>
    <a:effectLst>
      <a:softEdge rad="190500"/>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FF13A9-D1CB-4E54-8D02-25D3818114F2}" type="doc">
      <dgm:prSet loTypeId="urn:microsoft.com/office/officeart/2005/8/layout/cycle7" loCatId="cycle" qsTypeId="urn:microsoft.com/office/officeart/2005/8/quickstyle/simple1" qsCatId="simple" csTypeId="urn:microsoft.com/office/officeart/2005/8/colors/accent4_1" csCatId="accent4" phldr="1"/>
      <dgm:spPr/>
      <dgm:t>
        <a:bodyPr/>
        <a:lstStyle/>
        <a:p>
          <a:endParaRPr lang="es-MX"/>
        </a:p>
      </dgm:t>
    </dgm:pt>
    <dgm:pt modelId="{666D3DB9-79CA-4249-A563-DE9BD85574EC}">
      <dgm:prSet custT="1"/>
      <dgm:spPr>
        <a:xfrm>
          <a:off x="2661046" y="1572"/>
          <a:ext cx="2805906" cy="1402953"/>
        </a:xfrm>
        <a:prstGeom prst="roundRect">
          <a:avLst>
            <a:gd name="adj" fmla="val 10000"/>
          </a:avLst>
        </a:prstGeom>
      </dgm:spPr>
      <dgm:t>
        <a:bodyPr/>
        <a:lstStyle/>
        <a:p>
          <a:pPr>
            <a:buNone/>
          </a:pPr>
          <a:r>
            <a:rPr lang="es-MX" sz="2000" b="1" dirty="0">
              <a:latin typeface="Source Sans Pro"/>
              <a:ea typeface="+mn-ea"/>
              <a:cs typeface="+mn-cs"/>
            </a:rPr>
            <a:t>ECONOMICALLY POSSIBLE</a:t>
          </a:r>
        </a:p>
      </dgm:t>
    </dgm:pt>
    <dgm:pt modelId="{69B41DC0-7813-4A9C-B9E4-9A982AFED1C3}" type="parTrans" cxnId="{9F810BC3-5BBE-4DC1-A114-E54CDE0C5A85}">
      <dgm:prSet/>
      <dgm:spPr/>
      <dgm:t>
        <a:bodyPr/>
        <a:lstStyle/>
        <a:p>
          <a:endParaRPr lang="es-MX"/>
        </a:p>
      </dgm:t>
    </dgm:pt>
    <dgm:pt modelId="{9B772D3E-737F-47EE-BFF1-1433913933BE}" type="sibTrans" cxnId="{9F810BC3-5BBE-4DC1-A114-E54CDE0C5A85}">
      <dgm:prSet/>
      <dgm:spPr>
        <a:xfrm rot="3600000">
          <a:off x="4491365" y="2463816"/>
          <a:ext cx="1461927" cy="491033"/>
        </a:xfrm>
        <a:prstGeom prst="leftRightArrow">
          <a:avLst>
            <a:gd name="adj1" fmla="val 60000"/>
            <a:gd name="adj2" fmla="val 50000"/>
          </a:avLst>
        </a:prstGeom>
        <a:solidFill>
          <a:schemeClr val="accent4">
            <a:lumMod val="60000"/>
            <a:lumOff val="40000"/>
          </a:schemeClr>
        </a:solidFill>
      </dgm:spPr>
      <dgm:t>
        <a:bodyPr/>
        <a:lstStyle/>
        <a:p>
          <a:pPr>
            <a:buNone/>
          </a:pPr>
          <a:endParaRPr lang="es-MX">
            <a:solidFill>
              <a:srgbClr val="0A0A0A">
                <a:hueOff val="0"/>
                <a:satOff val="0"/>
                <a:lumOff val="0"/>
                <a:alphaOff val="0"/>
              </a:srgbClr>
            </a:solidFill>
            <a:latin typeface="Source Sans Pro"/>
            <a:ea typeface="+mn-ea"/>
            <a:cs typeface="+mn-cs"/>
          </a:endParaRPr>
        </a:p>
      </dgm:t>
    </dgm:pt>
    <dgm:pt modelId="{91615D90-0FC9-46EF-9F3B-9CAD8D4DEDC4}">
      <dgm:prSet custT="1"/>
      <dgm:spPr>
        <a:xfrm>
          <a:off x="344389" y="4014141"/>
          <a:ext cx="2805906" cy="1402953"/>
        </a:xfrm>
        <a:prstGeom prst="roundRect">
          <a:avLst>
            <a:gd name="adj" fmla="val 10000"/>
          </a:avLst>
        </a:prstGeom>
      </dgm:spPr>
      <dgm:t>
        <a:bodyPr/>
        <a:lstStyle/>
        <a:p>
          <a:pPr>
            <a:buNone/>
          </a:pPr>
          <a:r>
            <a:rPr lang="es-MX" sz="2000" b="1">
              <a:latin typeface="Source Sans Pro"/>
              <a:ea typeface="+mn-ea"/>
              <a:cs typeface="+mn-cs"/>
            </a:rPr>
            <a:t>ENVIRONMENTALLY FRIENDLY</a:t>
          </a:r>
          <a:endParaRPr lang="es-MX" sz="2000" b="1" dirty="0">
            <a:latin typeface="Source Sans Pro"/>
            <a:ea typeface="+mn-ea"/>
            <a:cs typeface="+mn-cs"/>
          </a:endParaRPr>
        </a:p>
      </dgm:t>
    </dgm:pt>
    <dgm:pt modelId="{56BDA106-EE1A-48B1-AD8B-E7949E3D7D0C}" type="parTrans" cxnId="{156E34A7-169A-482B-AA32-C2BC3DD0FD4E}">
      <dgm:prSet/>
      <dgm:spPr/>
      <dgm:t>
        <a:bodyPr/>
        <a:lstStyle/>
        <a:p>
          <a:endParaRPr lang="es-MX"/>
        </a:p>
      </dgm:t>
    </dgm:pt>
    <dgm:pt modelId="{E54055E2-AFC1-48D6-8CB8-3459CE42E8C8}" type="sibTrans" cxnId="{156E34A7-169A-482B-AA32-C2BC3DD0FD4E}">
      <dgm:prSet/>
      <dgm:spPr>
        <a:xfrm rot="18000000">
          <a:off x="2174707" y="2463816"/>
          <a:ext cx="1461927" cy="491033"/>
        </a:xfrm>
        <a:prstGeom prst="leftRightArrow">
          <a:avLst>
            <a:gd name="adj1" fmla="val 60000"/>
            <a:gd name="adj2" fmla="val 50000"/>
          </a:avLst>
        </a:prstGeom>
        <a:solidFill>
          <a:schemeClr val="accent4">
            <a:lumMod val="60000"/>
            <a:lumOff val="40000"/>
          </a:schemeClr>
        </a:solidFill>
      </dgm:spPr>
      <dgm:t>
        <a:bodyPr/>
        <a:lstStyle/>
        <a:p>
          <a:pPr>
            <a:buNone/>
          </a:pPr>
          <a:endParaRPr lang="es-MX">
            <a:solidFill>
              <a:srgbClr val="0A0A0A">
                <a:hueOff val="0"/>
                <a:satOff val="0"/>
                <a:lumOff val="0"/>
                <a:alphaOff val="0"/>
              </a:srgbClr>
            </a:solidFill>
            <a:latin typeface="Source Sans Pro"/>
            <a:ea typeface="+mn-ea"/>
            <a:cs typeface="+mn-cs"/>
          </a:endParaRPr>
        </a:p>
      </dgm:t>
    </dgm:pt>
    <dgm:pt modelId="{DF6FE56C-1F28-4F1C-B2BC-8BDE12AF7220}">
      <dgm:prSet custT="1"/>
      <dgm:spPr>
        <a:xfrm>
          <a:off x="4977704" y="4014141"/>
          <a:ext cx="2805906" cy="1402953"/>
        </a:xfrm>
        <a:prstGeom prst="roundRect">
          <a:avLst>
            <a:gd name="adj" fmla="val 10000"/>
          </a:avLst>
        </a:prstGeom>
      </dgm:spPr>
      <dgm:t>
        <a:bodyPr/>
        <a:lstStyle/>
        <a:p>
          <a:pPr>
            <a:buNone/>
          </a:pPr>
          <a:r>
            <a:rPr lang="es-MX" sz="2400" b="1">
              <a:latin typeface="Source Sans Pro"/>
              <a:ea typeface="+mn-ea"/>
              <a:cs typeface="+mn-cs"/>
            </a:rPr>
            <a:t>SOCIALLY FEASIBLE</a:t>
          </a:r>
          <a:endParaRPr lang="es-MX" sz="2400" b="1" dirty="0">
            <a:latin typeface="Source Sans Pro"/>
            <a:ea typeface="+mn-ea"/>
            <a:cs typeface="+mn-cs"/>
          </a:endParaRPr>
        </a:p>
      </dgm:t>
    </dgm:pt>
    <dgm:pt modelId="{E8BEFC53-AE50-4BD7-BBD5-CD0621B51FDF}" type="parTrans" cxnId="{53A82EB5-DF29-4C94-A083-A7DD373B10A4}">
      <dgm:prSet/>
      <dgm:spPr/>
      <dgm:t>
        <a:bodyPr/>
        <a:lstStyle/>
        <a:p>
          <a:endParaRPr lang="es-MX"/>
        </a:p>
      </dgm:t>
    </dgm:pt>
    <dgm:pt modelId="{2F6F49FB-81AB-4EB9-B482-9372CEF7470F}" type="sibTrans" cxnId="{53A82EB5-DF29-4C94-A083-A7DD373B10A4}">
      <dgm:prSet/>
      <dgm:spPr>
        <a:xfrm rot="10800000">
          <a:off x="3333036" y="4470101"/>
          <a:ext cx="1461927" cy="491033"/>
        </a:xfrm>
        <a:prstGeom prst="leftRightArrow">
          <a:avLst>
            <a:gd name="adj1" fmla="val 60000"/>
            <a:gd name="adj2" fmla="val 50000"/>
          </a:avLst>
        </a:prstGeom>
        <a:solidFill>
          <a:schemeClr val="accent4">
            <a:lumMod val="60000"/>
            <a:lumOff val="40000"/>
          </a:schemeClr>
        </a:solidFill>
      </dgm:spPr>
      <dgm:t>
        <a:bodyPr/>
        <a:lstStyle/>
        <a:p>
          <a:pPr>
            <a:buNone/>
          </a:pPr>
          <a:endParaRPr lang="es-MX" dirty="0">
            <a:solidFill>
              <a:srgbClr val="0A0A0A">
                <a:hueOff val="0"/>
                <a:satOff val="0"/>
                <a:lumOff val="0"/>
                <a:alphaOff val="0"/>
              </a:srgbClr>
            </a:solidFill>
            <a:latin typeface="Source Sans Pro"/>
            <a:ea typeface="+mn-ea"/>
            <a:cs typeface="+mn-cs"/>
          </a:endParaRPr>
        </a:p>
      </dgm:t>
    </dgm:pt>
    <dgm:pt modelId="{6A94A94A-4527-400B-9869-2DFAD21683ED}" type="pres">
      <dgm:prSet presAssocID="{22FF13A9-D1CB-4E54-8D02-25D3818114F2}" presName="Name0" presStyleCnt="0">
        <dgm:presLayoutVars>
          <dgm:dir/>
          <dgm:resizeHandles val="exact"/>
        </dgm:presLayoutVars>
      </dgm:prSet>
      <dgm:spPr/>
    </dgm:pt>
    <dgm:pt modelId="{E6BB459F-6001-4FFC-8A38-740777DCF581}" type="pres">
      <dgm:prSet presAssocID="{666D3DB9-79CA-4249-A563-DE9BD85574EC}" presName="node" presStyleLbl="node1" presStyleIdx="0" presStyleCnt="3">
        <dgm:presLayoutVars>
          <dgm:bulletEnabled val="1"/>
        </dgm:presLayoutVars>
      </dgm:prSet>
      <dgm:spPr/>
    </dgm:pt>
    <dgm:pt modelId="{41639367-F2B9-48C7-8A72-0C92685E2C27}" type="pres">
      <dgm:prSet presAssocID="{9B772D3E-737F-47EE-BFF1-1433913933BE}" presName="sibTrans" presStyleLbl="sibTrans2D1" presStyleIdx="0" presStyleCnt="3"/>
      <dgm:spPr/>
    </dgm:pt>
    <dgm:pt modelId="{1A2FD183-33AE-4CFC-BFDC-991DEBE5887B}" type="pres">
      <dgm:prSet presAssocID="{9B772D3E-737F-47EE-BFF1-1433913933BE}" presName="connectorText" presStyleLbl="sibTrans2D1" presStyleIdx="0" presStyleCnt="3"/>
      <dgm:spPr/>
    </dgm:pt>
    <dgm:pt modelId="{E8F73E63-5042-4082-BCDD-DC258D6DD1F7}" type="pres">
      <dgm:prSet presAssocID="{DF6FE56C-1F28-4F1C-B2BC-8BDE12AF7220}" presName="node" presStyleLbl="node1" presStyleIdx="1" presStyleCnt="3">
        <dgm:presLayoutVars>
          <dgm:bulletEnabled val="1"/>
        </dgm:presLayoutVars>
      </dgm:prSet>
      <dgm:spPr/>
    </dgm:pt>
    <dgm:pt modelId="{F1156375-5831-40F3-8F86-76BF4CFB5828}" type="pres">
      <dgm:prSet presAssocID="{2F6F49FB-81AB-4EB9-B482-9372CEF7470F}" presName="sibTrans" presStyleLbl="sibTrans2D1" presStyleIdx="1" presStyleCnt="3"/>
      <dgm:spPr/>
    </dgm:pt>
    <dgm:pt modelId="{CAFA68EE-4D6E-4AFC-9C86-A87764C63C59}" type="pres">
      <dgm:prSet presAssocID="{2F6F49FB-81AB-4EB9-B482-9372CEF7470F}" presName="connectorText" presStyleLbl="sibTrans2D1" presStyleIdx="1" presStyleCnt="3"/>
      <dgm:spPr/>
    </dgm:pt>
    <dgm:pt modelId="{86BA4912-C3CA-4F89-BC58-E6EC0D1288CA}" type="pres">
      <dgm:prSet presAssocID="{91615D90-0FC9-46EF-9F3B-9CAD8D4DEDC4}" presName="node" presStyleLbl="node1" presStyleIdx="2" presStyleCnt="3">
        <dgm:presLayoutVars>
          <dgm:bulletEnabled val="1"/>
        </dgm:presLayoutVars>
      </dgm:prSet>
      <dgm:spPr/>
    </dgm:pt>
    <dgm:pt modelId="{40935B0F-9F97-485E-B4EC-44C791D25134}" type="pres">
      <dgm:prSet presAssocID="{E54055E2-AFC1-48D6-8CB8-3459CE42E8C8}" presName="sibTrans" presStyleLbl="sibTrans2D1" presStyleIdx="2" presStyleCnt="3"/>
      <dgm:spPr/>
    </dgm:pt>
    <dgm:pt modelId="{BBD9C554-23F0-4C66-9F97-9ED002A4B049}" type="pres">
      <dgm:prSet presAssocID="{E54055E2-AFC1-48D6-8CB8-3459CE42E8C8}" presName="connectorText" presStyleLbl="sibTrans2D1" presStyleIdx="2" presStyleCnt="3"/>
      <dgm:spPr/>
    </dgm:pt>
  </dgm:ptLst>
  <dgm:cxnLst>
    <dgm:cxn modelId="{32DB6F00-FFC3-40E3-B0AF-C50EAE0A0F04}" type="presOf" srcId="{666D3DB9-79CA-4249-A563-DE9BD85574EC}" destId="{E6BB459F-6001-4FFC-8A38-740777DCF581}" srcOrd="0" destOrd="0" presId="urn:microsoft.com/office/officeart/2005/8/layout/cycle7"/>
    <dgm:cxn modelId="{0AFD5A4B-ACF1-4FA2-874C-ABFB57A84585}" type="presOf" srcId="{E54055E2-AFC1-48D6-8CB8-3459CE42E8C8}" destId="{40935B0F-9F97-485E-B4EC-44C791D25134}" srcOrd="0" destOrd="0" presId="urn:microsoft.com/office/officeart/2005/8/layout/cycle7"/>
    <dgm:cxn modelId="{3FD2A16C-3367-44DD-8610-796D4D30D745}" type="presOf" srcId="{9B772D3E-737F-47EE-BFF1-1433913933BE}" destId="{1A2FD183-33AE-4CFC-BFDC-991DEBE5887B}" srcOrd="1" destOrd="0" presId="urn:microsoft.com/office/officeart/2005/8/layout/cycle7"/>
    <dgm:cxn modelId="{703BFF6D-E599-423D-8500-EE7DDA2319A4}" type="presOf" srcId="{9B772D3E-737F-47EE-BFF1-1433913933BE}" destId="{41639367-F2B9-48C7-8A72-0C92685E2C27}" srcOrd="0" destOrd="0" presId="urn:microsoft.com/office/officeart/2005/8/layout/cycle7"/>
    <dgm:cxn modelId="{6E13866F-1C1B-4E61-A022-488CA4889EB4}" type="presOf" srcId="{DF6FE56C-1F28-4F1C-B2BC-8BDE12AF7220}" destId="{E8F73E63-5042-4082-BCDD-DC258D6DD1F7}" srcOrd="0" destOrd="0" presId="urn:microsoft.com/office/officeart/2005/8/layout/cycle7"/>
    <dgm:cxn modelId="{0ED49470-F131-42E2-9DA9-70F536BE724E}" type="presOf" srcId="{2F6F49FB-81AB-4EB9-B482-9372CEF7470F}" destId="{CAFA68EE-4D6E-4AFC-9C86-A87764C63C59}" srcOrd="1" destOrd="0" presId="urn:microsoft.com/office/officeart/2005/8/layout/cycle7"/>
    <dgm:cxn modelId="{A7649483-4B3F-4493-AC2F-9A6B66CC00DD}" type="presOf" srcId="{22FF13A9-D1CB-4E54-8D02-25D3818114F2}" destId="{6A94A94A-4527-400B-9869-2DFAD21683ED}" srcOrd="0" destOrd="0" presId="urn:microsoft.com/office/officeart/2005/8/layout/cycle7"/>
    <dgm:cxn modelId="{62C43E8D-06F4-45B1-930A-C53574D1C6EC}" type="presOf" srcId="{E54055E2-AFC1-48D6-8CB8-3459CE42E8C8}" destId="{BBD9C554-23F0-4C66-9F97-9ED002A4B049}" srcOrd="1" destOrd="0" presId="urn:microsoft.com/office/officeart/2005/8/layout/cycle7"/>
    <dgm:cxn modelId="{156E34A7-169A-482B-AA32-C2BC3DD0FD4E}" srcId="{22FF13A9-D1CB-4E54-8D02-25D3818114F2}" destId="{91615D90-0FC9-46EF-9F3B-9CAD8D4DEDC4}" srcOrd="2" destOrd="0" parTransId="{56BDA106-EE1A-48B1-AD8B-E7949E3D7D0C}" sibTransId="{E54055E2-AFC1-48D6-8CB8-3459CE42E8C8}"/>
    <dgm:cxn modelId="{53A82EB5-DF29-4C94-A083-A7DD373B10A4}" srcId="{22FF13A9-D1CB-4E54-8D02-25D3818114F2}" destId="{DF6FE56C-1F28-4F1C-B2BC-8BDE12AF7220}" srcOrd="1" destOrd="0" parTransId="{E8BEFC53-AE50-4BD7-BBD5-CD0621B51FDF}" sibTransId="{2F6F49FB-81AB-4EB9-B482-9372CEF7470F}"/>
    <dgm:cxn modelId="{9F810BC3-5BBE-4DC1-A114-E54CDE0C5A85}" srcId="{22FF13A9-D1CB-4E54-8D02-25D3818114F2}" destId="{666D3DB9-79CA-4249-A563-DE9BD85574EC}" srcOrd="0" destOrd="0" parTransId="{69B41DC0-7813-4A9C-B9E4-9A982AFED1C3}" sibTransId="{9B772D3E-737F-47EE-BFF1-1433913933BE}"/>
    <dgm:cxn modelId="{783250E3-7F12-4A40-9B46-6A42E5281E00}" type="presOf" srcId="{2F6F49FB-81AB-4EB9-B482-9372CEF7470F}" destId="{F1156375-5831-40F3-8F86-76BF4CFB5828}" srcOrd="0" destOrd="0" presId="urn:microsoft.com/office/officeart/2005/8/layout/cycle7"/>
    <dgm:cxn modelId="{B4EC74EB-D4B6-481B-98EE-C3390306F01E}" type="presOf" srcId="{91615D90-0FC9-46EF-9F3B-9CAD8D4DEDC4}" destId="{86BA4912-C3CA-4F89-BC58-E6EC0D1288CA}" srcOrd="0" destOrd="0" presId="urn:microsoft.com/office/officeart/2005/8/layout/cycle7"/>
    <dgm:cxn modelId="{C54FAB7B-E02C-440D-B459-81F66DCF2715}" type="presParOf" srcId="{6A94A94A-4527-400B-9869-2DFAD21683ED}" destId="{E6BB459F-6001-4FFC-8A38-740777DCF581}" srcOrd="0" destOrd="0" presId="urn:microsoft.com/office/officeart/2005/8/layout/cycle7"/>
    <dgm:cxn modelId="{43F19164-6E0C-448B-8FE9-B46649F5F58A}" type="presParOf" srcId="{6A94A94A-4527-400B-9869-2DFAD21683ED}" destId="{41639367-F2B9-48C7-8A72-0C92685E2C27}" srcOrd="1" destOrd="0" presId="urn:microsoft.com/office/officeart/2005/8/layout/cycle7"/>
    <dgm:cxn modelId="{48E7605C-587B-4796-ABFA-47EFB5DA30BC}" type="presParOf" srcId="{41639367-F2B9-48C7-8A72-0C92685E2C27}" destId="{1A2FD183-33AE-4CFC-BFDC-991DEBE5887B}" srcOrd="0" destOrd="0" presId="urn:microsoft.com/office/officeart/2005/8/layout/cycle7"/>
    <dgm:cxn modelId="{411CC532-FD53-4487-B858-6F5E08B571FF}" type="presParOf" srcId="{6A94A94A-4527-400B-9869-2DFAD21683ED}" destId="{E8F73E63-5042-4082-BCDD-DC258D6DD1F7}" srcOrd="2" destOrd="0" presId="urn:microsoft.com/office/officeart/2005/8/layout/cycle7"/>
    <dgm:cxn modelId="{E8F2445D-39FF-436F-8167-873931B4E741}" type="presParOf" srcId="{6A94A94A-4527-400B-9869-2DFAD21683ED}" destId="{F1156375-5831-40F3-8F86-76BF4CFB5828}" srcOrd="3" destOrd="0" presId="urn:microsoft.com/office/officeart/2005/8/layout/cycle7"/>
    <dgm:cxn modelId="{BA8DB306-33ED-49EF-8F56-5109510FE1D3}" type="presParOf" srcId="{F1156375-5831-40F3-8F86-76BF4CFB5828}" destId="{CAFA68EE-4D6E-4AFC-9C86-A87764C63C59}" srcOrd="0" destOrd="0" presId="urn:microsoft.com/office/officeart/2005/8/layout/cycle7"/>
    <dgm:cxn modelId="{84CA32D1-FA49-436D-A0EF-B7920711F79D}" type="presParOf" srcId="{6A94A94A-4527-400B-9869-2DFAD21683ED}" destId="{86BA4912-C3CA-4F89-BC58-E6EC0D1288CA}" srcOrd="4" destOrd="0" presId="urn:microsoft.com/office/officeart/2005/8/layout/cycle7"/>
    <dgm:cxn modelId="{881A5E22-E57F-40B1-9123-369776BE678E}" type="presParOf" srcId="{6A94A94A-4527-400B-9869-2DFAD21683ED}" destId="{40935B0F-9F97-485E-B4EC-44C791D25134}" srcOrd="5" destOrd="0" presId="urn:microsoft.com/office/officeart/2005/8/layout/cycle7"/>
    <dgm:cxn modelId="{8E46343A-53A2-43E0-A1A2-5226E34B3A92}" type="presParOf" srcId="{40935B0F-9F97-485E-B4EC-44C791D25134}" destId="{BBD9C554-23F0-4C66-9F97-9ED002A4B049}" srcOrd="0" destOrd="0" presId="urn:microsoft.com/office/officeart/2005/8/layout/cycle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F47B70-4394-4647-BF39-781274E7A332}">
      <dsp:nvSpPr>
        <dsp:cNvPr id="0" name=""/>
        <dsp:cNvSpPr/>
      </dsp:nvSpPr>
      <dsp:spPr>
        <a:xfrm>
          <a:off x="4099886" y="2396"/>
          <a:ext cx="1426570" cy="688095"/>
        </a:xfrm>
        <a:prstGeom prst="roundRect">
          <a:avLst/>
        </a:prstGeom>
        <a:solidFill>
          <a:schemeClr val="lt1">
            <a:hueOff val="0"/>
            <a:satOff val="0"/>
            <a:lumOff val="0"/>
            <a:alphaOff val="0"/>
          </a:schemeClr>
        </a:solidFill>
        <a:ln w="12700" cap="flat" cmpd="sng" algn="ctr">
          <a:noFill/>
          <a:prstDash val="solid"/>
          <a:miter lim="800000"/>
        </a:ln>
        <a:effectLst/>
        <a:scene3d>
          <a:camera prst="orthographicFront">
            <a:rot lat="0" lon="0" rev="0"/>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ES" sz="1200" b="1" kern="1200" dirty="0" err="1">
              <a:latin typeface="Bahnschrift SemiCondensed" panose="020B0502040204020203" pitchFamily="34" charset="0"/>
            </a:rPr>
            <a:t>Increased</a:t>
          </a:r>
          <a:r>
            <a:rPr lang="es-ES" sz="1200" b="1" kern="1200" dirty="0">
              <a:latin typeface="Bahnschrift SemiCondensed" panose="020B0502040204020203" pitchFamily="34" charset="0"/>
            </a:rPr>
            <a:t> car </a:t>
          </a:r>
          <a:r>
            <a:rPr lang="es-ES" sz="1200" b="1" kern="1200" dirty="0" err="1">
              <a:latin typeface="Bahnschrift SemiCondensed" panose="020B0502040204020203" pitchFamily="34" charset="0"/>
            </a:rPr>
            <a:t>ownership</a:t>
          </a:r>
          <a:endParaRPr lang="es-ES" sz="1200" b="1" kern="1200" dirty="0">
            <a:latin typeface="Bahnschrift SemiCondensed" panose="020B0502040204020203" pitchFamily="34" charset="0"/>
          </a:endParaRPr>
        </a:p>
      </dsp:txBody>
      <dsp:txXfrm>
        <a:off x="4133476" y="35986"/>
        <a:ext cx="1359390" cy="620915"/>
      </dsp:txXfrm>
    </dsp:sp>
    <dsp:sp modelId="{E2BB51CF-7AF5-44E1-90B7-724606F3DB9F}">
      <dsp:nvSpPr>
        <dsp:cNvPr id="0" name=""/>
        <dsp:cNvSpPr/>
      </dsp:nvSpPr>
      <dsp:spPr>
        <a:xfrm>
          <a:off x="2425941" y="346444"/>
          <a:ext cx="4774460" cy="4774460"/>
        </a:xfrm>
        <a:custGeom>
          <a:avLst/>
          <a:gdLst/>
          <a:ahLst/>
          <a:cxnLst/>
          <a:rect l="0" t="0" r="0" b="0"/>
          <a:pathLst>
            <a:path>
              <a:moveTo>
                <a:pt x="3212772" y="147286"/>
              </a:moveTo>
              <a:arcTo wR="2387230" hR="2387230" stAng="17413897" swAng="514589"/>
            </a:path>
          </a:pathLst>
        </a:custGeom>
        <a:noFill/>
        <a:ln w="15875" cap="flat" cmpd="sng" algn="ctr">
          <a:solidFill>
            <a:schemeClr val="accent6"/>
          </a:solidFill>
          <a:prstDash val="solid"/>
          <a:miter lim="800000"/>
          <a:tailEnd type="arrow"/>
        </a:ln>
        <a:effectLst/>
        <a:scene3d>
          <a:camera prst="orthographicFront">
            <a:rot lat="0" lon="0" rev="0"/>
          </a:camera>
          <a:lightRig rig="threePt" dir="t"/>
        </a:scene3d>
      </dsp:spPr>
      <dsp:style>
        <a:lnRef idx="1">
          <a:scrgbClr r="0" g="0" b="0"/>
        </a:lnRef>
        <a:fillRef idx="0">
          <a:scrgbClr r="0" g="0" b="0"/>
        </a:fillRef>
        <a:effectRef idx="0">
          <a:scrgbClr r="0" g="0" b="0"/>
        </a:effectRef>
        <a:fontRef idx="minor"/>
      </dsp:style>
    </dsp:sp>
    <dsp:sp modelId="{73FD4B7B-0AD4-43F7-8534-65B311F4B5E7}">
      <dsp:nvSpPr>
        <dsp:cNvPr id="0" name=""/>
        <dsp:cNvSpPr/>
      </dsp:nvSpPr>
      <dsp:spPr>
        <a:xfrm>
          <a:off x="5636986" y="701600"/>
          <a:ext cx="1728422" cy="688095"/>
        </a:xfrm>
        <a:prstGeom prst="roundRect">
          <a:avLst/>
        </a:prstGeom>
        <a:solidFill>
          <a:schemeClr val="lt1">
            <a:hueOff val="0"/>
            <a:satOff val="0"/>
            <a:lumOff val="0"/>
            <a:alphaOff val="0"/>
          </a:schemeClr>
        </a:solidFill>
        <a:ln w="12700" cap="flat" cmpd="sng" algn="ctr">
          <a:noFill/>
          <a:prstDash val="solid"/>
          <a:miter lim="800000"/>
        </a:ln>
        <a:effectLst/>
        <a:scene3d>
          <a:camera prst="orthographicFront">
            <a:rot lat="0" lon="0" rev="0"/>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ES" sz="1200" b="1" kern="1200" dirty="0">
              <a:latin typeface="Bahnschrift SemiCondensed" panose="020B0502040204020203" pitchFamily="34" charset="0"/>
            </a:rPr>
            <a:t>Car-</a:t>
          </a:r>
          <a:r>
            <a:rPr lang="es-ES" sz="1200" b="1" kern="1200" dirty="0" err="1">
              <a:latin typeface="Bahnschrift SemiCondensed" panose="020B0502040204020203" pitchFamily="34" charset="0"/>
            </a:rPr>
            <a:t>centric</a:t>
          </a:r>
          <a:r>
            <a:rPr lang="es-ES" sz="1200" b="1" kern="1200" dirty="0">
              <a:latin typeface="Bahnschrift SemiCondensed" panose="020B0502040204020203" pitchFamily="34" charset="0"/>
            </a:rPr>
            <a:t> </a:t>
          </a:r>
          <a:r>
            <a:rPr lang="es-ES" sz="1200" b="1" kern="1200" dirty="0" err="1">
              <a:latin typeface="Bahnschrift SemiCondensed" panose="020B0502040204020203" pitchFamily="34" charset="0"/>
            </a:rPr>
            <a:t>transportation</a:t>
          </a:r>
          <a:r>
            <a:rPr lang="es-ES" sz="1200" b="1" kern="1200" dirty="0">
              <a:latin typeface="Bahnschrift SemiCondensed" panose="020B0502040204020203" pitchFamily="34" charset="0"/>
            </a:rPr>
            <a:t> </a:t>
          </a:r>
          <a:r>
            <a:rPr lang="es-ES" sz="1200" b="1" kern="1200" dirty="0" err="1">
              <a:latin typeface="Bahnschrift SemiCondensed" panose="020B0502040204020203" pitchFamily="34" charset="0"/>
            </a:rPr>
            <a:t>planning</a:t>
          </a:r>
          <a:endParaRPr lang="es-ES" sz="1200" b="1" kern="1200" dirty="0">
            <a:latin typeface="Bahnschrift SemiCondensed" panose="020B0502040204020203" pitchFamily="34" charset="0"/>
          </a:endParaRPr>
        </a:p>
      </dsp:txBody>
      <dsp:txXfrm>
        <a:off x="5670576" y="735190"/>
        <a:ext cx="1661242" cy="620915"/>
      </dsp:txXfrm>
    </dsp:sp>
    <dsp:sp modelId="{A3F11751-973D-4FA1-B878-B3286A1D96D7}">
      <dsp:nvSpPr>
        <dsp:cNvPr id="0" name=""/>
        <dsp:cNvSpPr/>
      </dsp:nvSpPr>
      <dsp:spPr>
        <a:xfrm>
          <a:off x="2425941" y="346444"/>
          <a:ext cx="4774460" cy="4774460"/>
        </a:xfrm>
        <a:custGeom>
          <a:avLst/>
          <a:gdLst/>
          <a:ahLst/>
          <a:cxnLst/>
          <a:rect l="0" t="0" r="0" b="0"/>
          <a:pathLst>
            <a:path>
              <a:moveTo>
                <a:pt x="4472887" y="1225808"/>
              </a:moveTo>
              <a:arcTo wR="2387230" hR="2387230" stAng="19853297" swAng="940471"/>
            </a:path>
          </a:pathLst>
        </a:custGeom>
        <a:noFill/>
        <a:ln w="15875" cap="flat" cmpd="sng" algn="ctr">
          <a:solidFill>
            <a:schemeClr val="accent6"/>
          </a:solidFill>
          <a:prstDash val="solid"/>
          <a:miter lim="800000"/>
          <a:tailEnd type="arrow"/>
        </a:ln>
        <a:effectLst/>
        <a:scene3d>
          <a:camera prst="orthographicFront">
            <a:rot lat="0" lon="0" rev="0"/>
          </a:camera>
          <a:lightRig rig="threePt" dir="t"/>
        </a:scene3d>
      </dsp:spPr>
      <dsp:style>
        <a:lnRef idx="1">
          <a:scrgbClr r="0" g="0" b="0"/>
        </a:lnRef>
        <a:fillRef idx="0">
          <a:scrgbClr r="0" g="0" b="0"/>
        </a:fillRef>
        <a:effectRef idx="0">
          <a:scrgbClr r="0" g="0" b="0"/>
        </a:effectRef>
        <a:fontRef idx="minor"/>
      </dsp:style>
    </dsp:sp>
    <dsp:sp modelId="{627EFE4B-5692-4442-92AA-358BDF6F007D}">
      <dsp:nvSpPr>
        <dsp:cNvPr id="0" name=""/>
        <dsp:cNvSpPr/>
      </dsp:nvSpPr>
      <dsp:spPr>
        <a:xfrm>
          <a:off x="6444882" y="2389627"/>
          <a:ext cx="1511037" cy="688095"/>
        </a:xfrm>
        <a:prstGeom prst="roundRect">
          <a:avLst/>
        </a:prstGeom>
        <a:solidFill>
          <a:schemeClr val="lt1">
            <a:hueOff val="0"/>
            <a:satOff val="0"/>
            <a:lumOff val="0"/>
            <a:alphaOff val="0"/>
          </a:schemeClr>
        </a:solidFill>
        <a:ln w="12700" cap="flat" cmpd="sng" algn="ctr">
          <a:noFill/>
          <a:prstDash val="solid"/>
          <a:miter lim="800000"/>
        </a:ln>
        <a:effectLst/>
        <a:scene3d>
          <a:camera prst="orthographicFront">
            <a:rot lat="0" lon="0" rev="0"/>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ES" sz="1200" b="1" kern="1200">
              <a:latin typeface="Bahnschrift SemiCondensed" panose="020B0502040204020203" pitchFamily="34" charset="0"/>
            </a:rPr>
            <a:t>Limited transportation alternatives</a:t>
          </a:r>
          <a:endParaRPr lang="es-ES" sz="1200" b="1" kern="1200" dirty="0">
            <a:latin typeface="Bahnschrift SemiCondensed" panose="020B0502040204020203" pitchFamily="34" charset="0"/>
          </a:endParaRPr>
        </a:p>
      </dsp:txBody>
      <dsp:txXfrm>
        <a:off x="6478472" y="2423217"/>
        <a:ext cx="1443857" cy="620915"/>
      </dsp:txXfrm>
    </dsp:sp>
    <dsp:sp modelId="{DB6B8B64-1D64-49E0-A495-497839B1A6A4}">
      <dsp:nvSpPr>
        <dsp:cNvPr id="0" name=""/>
        <dsp:cNvSpPr/>
      </dsp:nvSpPr>
      <dsp:spPr>
        <a:xfrm>
          <a:off x="2425941" y="346444"/>
          <a:ext cx="4774460" cy="4774460"/>
        </a:xfrm>
        <a:custGeom>
          <a:avLst/>
          <a:gdLst/>
          <a:ahLst/>
          <a:cxnLst/>
          <a:rect l="0" t="0" r="0" b="0"/>
          <a:pathLst>
            <a:path>
              <a:moveTo>
                <a:pt x="4709110" y="2941973"/>
              </a:moveTo>
              <a:arcTo wR="2387230" hR="2387230" stAng="806232" swAng="940471"/>
            </a:path>
          </a:pathLst>
        </a:custGeom>
        <a:noFill/>
        <a:ln w="15875" cap="flat" cmpd="sng" algn="ctr">
          <a:solidFill>
            <a:schemeClr val="accent6"/>
          </a:solidFill>
          <a:prstDash val="solid"/>
          <a:miter lim="800000"/>
          <a:tailEnd type="arrow"/>
        </a:ln>
        <a:effectLst/>
        <a:scene3d>
          <a:camera prst="orthographicFront">
            <a:rot lat="0" lon="0" rev="0"/>
          </a:camera>
          <a:lightRig rig="threePt" dir="t"/>
        </a:scene3d>
      </dsp:spPr>
      <dsp:style>
        <a:lnRef idx="1">
          <a:scrgbClr r="0" g="0" b="0"/>
        </a:lnRef>
        <a:fillRef idx="0">
          <a:scrgbClr r="0" g="0" b="0"/>
        </a:fillRef>
        <a:effectRef idx="0">
          <a:scrgbClr r="0" g="0" b="0"/>
        </a:effectRef>
        <a:fontRef idx="minor"/>
      </dsp:style>
    </dsp:sp>
    <dsp:sp modelId="{2262847C-EFA1-4125-865D-9E2D6A55E9CF}">
      <dsp:nvSpPr>
        <dsp:cNvPr id="0" name=""/>
        <dsp:cNvSpPr/>
      </dsp:nvSpPr>
      <dsp:spPr>
        <a:xfrm>
          <a:off x="5918486" y="4077653"/>
          <a:ext cx="1165422" cy="688095"/>
        </a:xfrm>
        <a:prstGeom prst="roundRect">
          <a:avLst/>
        </a:prstGeom>
        <a:solidFill>
          <a:schemeClr val="lt1">
            <a:hueOff val="0"/>
            <a:satOff val="0"/>
            <a:lumOff val="0"/>
            <a:alphaOff val="0"/>
          </a:schemeClr>
        </a:solidFill>
        <a:ln w="12700" cap="flat" cmpd="sng" algn="ctr">
          <a:noFill/>
          <a:prstDash val="solid"/>
          <a:miter lim="800000"/>
        </a:ln>
        <a:effectLst/>
        <a:scene3d>
          <a:camera prst="orthographicFront">
            <a:rot lat="0" lon="0" rev="0"/>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ES" sz="1200" b="1" kern="1200" dirty="0" err="1">
              <a:latin typeface="Bahnschrift SemiCondensed" panose="020B0502040204020203" pitchFamily="34" charset="0"/>
            </a:rPr>
            <a:t>Stigmatized</a:t>
          </a:r>
          <a:r>
            <a:rPr lang="es-ES" sz="1200" b="1" kern="1200" dirty="0">
              <a:latin typeface="Bahnschrift SemiCondensed" panose="020B0502040204020203" pitchFamily="34" charset="0"/>
            </a:rPr>
            <a:t> </a:t>
          </a:r>
          <a:r>
            <a:rPr lang="es-ES" sz="1200" b="1" kern="1200" dirty="0" err="1">
              <a:latin typeface="Bahnschrift SemiCondensed" panose="020B0502040204020203" pitchFamily="34" charset="0"/>
            </a:rPr>
            <a:t>alternative</a:t>
          </a:r>
          <a:r>
            <a:rPr lang="es-ES" sz="1200" b="1" kern="1200" dirty="0">
              <a:latin typeface="Bahnschrift SemiCondensed" panose="020B0502040204020203" pitchFamily="34" charset="0"/>
            </a:rPr>
            <a:t> </a:t>
          </a:r>
          <a:r>
            <a:rPr lang="es-ES" sz="1200" b="1" kern="1200" dirty="0" err="1">
              <a:latin typeface="Bahnschrift SemiCondensed" panose="020B0502040204020203" pitchFamily="34" charset="0"/>
            </a:rPr>
            <a:t>modes</a:t>
          </a:r>
          <a:endParaRPr lang="es-ES" sz="1200" b="1" kern="1200" dirty="0">
            <a:latin typeface="Bahnschrift SemiCondensed" panose="020B0502040204020203" pitchFamily="34" charset="0"/>
          </a:endParaRPr>
        </a:p>
      </dsp:txBody>
      <dsp:txXfrm>
        <a:off x="5952076" y="4111243"/>
        <a:ext cx="1098242" cy="620915"/>
      </dsp:txXfrm>
    </dsp:sp>
    <dsp:sp modelId="{A6C3AEF7-DDC9-4F72-929D-4DA53E5B0101}">
      <dsp:nvSpPr>
        <dsp:cNvPr id="0" name=""/>
        <dsp:cNvSpPr/>
      </dsp:nvSpPr>
      <dsp:spPr>
        <a:xfrm>
          <a:off x="2425941" y="346444"/>
          <a:ext cx="4774460" cy="4774460"/>
        </a:xfrm>
        <a:custGeom>
          <a:avLst/>
          <a:gdLst/>
          <a:ahLst/>
          <a:cxnLst/>
          <a:rect l="0" t="0" r="0" b="0"/>
          <a:pathLst>
            <a:path>
              <a:moveTo>
                <a:pt x="3566435" y="4462884"/>
              </a:moveTo>
              <a:arcTo wR="2387230" hR="2387230" stAng="3623913" swAng="370402"/>
            </a:path>
          </a:pathLst>
        </a:custGeom>
        <a:noFill/>
        <a:ln w="15875" cap="flat" cmpd="sng" algn="ctr">
          <a:solidFill>
            <a:schemeClr val="accent6"/>
          </a:solidFill>
          <a:prstDash val="solid"/>
          <a:miter lim="800000"/>
          <a:tailEnd type="arrow"/>
        </a:ln>
        <a:effectLst/>
        <a:scene3d>
          <a:camera prst="orthographicFront">
            <a:rot lat="0" lon="0" rev="0"/>
          </a:camera>
          <a:lightRig rig="threePt" dir="t"/>
        </a:scene3d>
      </dsp:spPr>
      <dsp:style>
        <a:lnRef idx="1">
          <a:scrgbClr r="0" g="0" b="0"/>
        </a:lnRef>
        <a:fillRef idx="0">
          <a:scrgbClr r="0" g="0" b="0"/>
        </a:fillRef>
        <a:effectRef idx="0">
          <a:scrgbClr r="0" g="0" b="0"/>
        </a:effectRef>
        <a:fontRef idx="minor"/>
      </dsp:style>
    </dsp:sp>
    <dsp:sp modelId="{3A4F5264-D2AD-40BA-A878-8F19E5C7ECEC}">
      <dsp:nvSpPr>
        <dsp:cNvPr id="0" name=""/>
        <dsp:cNvSpPr/>
      </dsp:nvSpPr>
      <dsp:spPr>
        <a:xfrm>
          <a:off x="3943100" y="4776857"/>
          <a:ext cx="1740141" cy="688095"/>
        </a:xfrm>
        <a:prstGeom prst="roundRect">
          <a:avLst/>
        </a:prstGeom>
        <a:solidFill>
          <a:schemeClr val="lt1">
            <a:hueOff val="0"/>
            <a:satOff val="0"/>
            <a:lumOff val="0"/>
            <a:alphaOff val="0"/>
          </a:schemeClr>
        </a:solidFill>
        <a:ln w="12700" cap="flat" cmpd="sng" algn="ctr">
          <a:noFill/>
          <a:prstDash val="solid"/>
          <a:miter lim="800000"/>
        </a:ln>
        <a:effectLst/>
        <a:scene3d>
          <a:camera prst="orthographicFront">
            <a:rot lat="0" lon="0" rev="0"/>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ES" sz="1200" b="1" kern="1200" dirty="0" err="1">
              <a:latin typeface="Bahnschrift SemiCondensed" panose="020B0502040204020203" pitchFamily="34" charset="0"/>
            </a:rPr>
            <a:t>Suburbanization</a:t>
          </a:r>
          <a:r>
            <a:rPr lang="es-ES" sz="1200" b="1" kern="1200" dirty="0">
              <a:latin typeface="Bahnschrift SemiCondensed" panose="020B0502040204020203" pitchFamily="34" charset="0"/>
            </a:rPr>
            <a:t> and </a:t>
          </a:r>
          <a:r>
            <a:rPr lang="es-ES" sz="1200" b="1" kern="1200" dirty="0" err="1">
              <a:latin typeface="Bahnschrift SemiCondensed" panose="020B0502040204020203" pitchFamily="34" charset="0"/>
            </a:rPr>
            <a:t>degraded</a:t>
          </a:r>
          <a:r>
            <a:rPr lang="es-ES" sz="1200" b="1" kern="1200" dirty="0">
              <a:latin typeface="Bahnschrift SemiCondensed" panose="020B0502040204020203" pitchFamily="34" charset="0"/>
            </a:rPr>
            <a:t> </a:t>
          </a:r>
          <a:r>
            <a:rPr lang="es-ES" sz="1200" b="1" kern="1200" dirty="0" err="1">
              <a:latin typeface="Bahnschrift SemiCondensed" panose="020B0502040204020203" pitchFamily="34" charset="0"/>
            </a:rPr>
            <a:t>cities</a:t>
          </a:r>
          <a:endParaRPr lang="es-ES" sz="1200" b="1" kern="1200" dirty="0">
            <a:latin typeface="Bahnschrift SemiCondensed" panose="020B0502040204020203" pitchFamily="34" charset="0"/>
          </a:endParaRPr>
        </a:p>
      </dsp:txBody>
      <dsp:txXfrm>
        <a:off x="3976690" y="4810447"/>
        <a:ext cx="1672961" cy="620915"/>
      </dsp:txXfrm>
    </dsp:sp>
    <dsp:sp modelId="{BB63C202-8230-4AE9-B823-31515F016990}">
      <dsp:nvSpPr>
        <dsp:cNvPr id="0" name=""/>
        <dsp:cNvSpPr/>
      </dsp:nvSpPr>
      <dsp:spPr>
        <a:xfrm>
          <a:off x="2425941" y="346444"/>
          <a:ext cx="4774460" cy="4774460"/>
        </a:xfrm>
        <a:custGeom>
          <a:avLst/>
          <a:gdLst/>
          <a:ahLst/>
          <a:cxnLst/>
          <a:rect l="0" t="0" r="0" b="0"/>
          <a:pathLst>
            <a:path>
              <a:moveTo>
                <a:pt x="1438073" y="4577656"/>
              </a:moveTo>
              <a:arcTo wR="2387230" hR="2387230" stAng="6805685" swAng="370402"/>
            </a:path>
          </a:pathLst>
        </a:custGeom>
        <a:noFill/>
        <a:ln w="15875" cap="flat" cmpd="sng" algn="ctr">
          <a:solidFill>
            <a:schemeClr val="accent6"/>
          </a:solidFill>
          <a:prstDash val="solid"/>
          <a:miter lim="800000"/>
          <a:tailEnd type="arrow"/>
        </a:ln>
        <a:effectLst/>
        <a:scene3d>
          <a:camera prst="orthographicFront">
            <a:rot lat="0" lon="0" rev="0"/>
          </a:camera>
          <a:lightRig rig="threePt" dir="t"/>
        </a:scene3d>
      </dsp:spPr>
      <dsp:style>
        <a:lnRef idx="1">
          <a:scrgbClr r="0" g="0" b="0"/>
        </a:lnRef>
        <a:fillRef idx="0">
          <a:scrgbClr r="0" g="0" b="0"/>
        </a:fillRef>
        <a:effectRef idx="0">
          <a:scrgbClr r="0" g="0" b="0"/>
        </a:effectRef>
        <a:fontRef idx="minor"/>
      </dsp:style>
    </dsp:sp>
    <dsp:sp modelId="{63E81243-67B0-499B-BD76-33A916B4E6E4}">
      <dsp:nvSpPr>
        <dsp:cNvPr id="0" name=""/>
        <dsp:cNvSpPr/>
      </dsp:nvSpPr>
      <dsp:spPr>
        <a:xfrm>
          <a:off x="2406529" y="4077653"/>
          <a:ext cx="1437230" cy="688095"/>
        </a:xfrm>
        <a:prstGeom prst="roundRect">
          <a:avLst/>
        </a:prstGeom>
        <a:solidFill>
          <a:schemeClr val="lt1">
            <a:hueOff val="0"/>
            <a:satOff val="0"/>
            <a:lumOff val="0"/>
            <a:alphaOff val="0"/>
          </a:schemeClr>
        </a:solidFill>
        <a:ln w="12700" cap="flat" cmpd="sng" algn="ctr">
          <a:noFill/>
          <a:prstDash val="solid"/>
          <a:miter lim="800000"/>
        </a:ln>
        <a:effectLst/>
        <a:scene3d>
          <a:camera prst="orthographicFront">
            <a:rot lat="0" lon="0" rev="0"/>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Bahnschrift SemiCondensed" panose="020B0502040204020203" pitchFamily="34" charset="0"/>
            </a:rPr>
            <a:t>Land use planning is car-oriented</a:t>
          </a:r>
          <a:endParaRPr lang="es-ES" sz="1200" b="1" kern="1200" dirty="0">
            <a:latin typeface="Bahnschrift SemiCondensed" panose="020B0502040204020203" pitchFamily="34" charset="0"/>
          </a:endParaRPr>
        </a:p>
      </dsp:txBody>
      <dsp:txXfrm>
        <a:off x="2440119" y="4111243"/>
        <a:ext cx="1370050" cy="620915"/>
      </dsp:txXfrm>
    </dsp:sp>
    <dsp:sp modelId="{544ED882-797A-422F-A07A-305FA1507E4B}">
      <dsp:nvSpPr>
        <dsp:cNvPr id="0" name=""/>
        <dsp:cNvSpPr/>
      </dsp:nvSpPr>
      <dsp:spPr>
        <a:xfrm>
          <a:off x="2425941" y="346444"/>
          <a:ext cx="4774460" cy="4774460"/>
        </a:xfrm>
        <a:custGeom>
          <a:avLst/>
          <a:gdLst/>
          <a:ahLst/>
          <a:cxnLst/>
          <a:rect l="0" t="0" r="0" b="0"/>
          <a:pathLst>
            <a:path>
              <a:moveTo>
                <a:pt x="301572" y="3548651"/>
              </a:moveTo>
              <a:arcTo wR="2387230" hR="2387230" stAng="9053297" swAng="940471"/>
            </a:path>
          </a:pathLst>
        </a:custGeom>
        <a:noFill/>
        <a:ln w="15875" cap="flat" cmpd="sng" algn="ctr">
          <a:solidFill>
            <a:schemeClr val="accent6"/>
          </a:solidFill>
          <a:prstDash val="solid"/>
          <a:miter lim="800000"/>
          <a:tailEnd type="arrow"/>
        </a:ln>
        <a:effectLst/>
        <a:scene3d>
          <a:camera prst="orthographicFront">
            <a:rot lat="0" lon="0" rev="0"/>
          </a:camera>
          <a:lightRig rig="threePt" dir="t"/>
        </a:scene3d>
      </dsp:spPr>
      <dsp:style>
        <a:lnRef idx="1">
          <a:scrgbClr r="0" g="0" b="0"/>
        </a:lnRef>
        <a:fillRef idx="0">
          <a:scrgbClr r="0" g="0" b="0"/>
        </a:fillRef>
        <a:effectRef idx="0">
          <a:scrgbClr r="0" g="0" b="0"/>
        </a:effectRef>
        <a:fontRef idx="minor"/>
      </dsp:style>
    </dsp:sp>
    <dsp:sp modelId="{2764FA07-9403-4071-BF9B-1D4DCED97EBE}">
      <dsp:nvSpPr>
        <dsp:cNvPr id="0" name=""/>
        <dsp:cNvSpPr/>
      </dsp:nvSpPr>
      <dsp:spPr>
        <a:xfrm>
          <a:off x="1832029" y="2389627"/>
          <a:ext cx="1187822" cy="688095"/>
        </a:xfrm>
        <a:prstGeom prst="roundRect">
          <a:avLst/>
        </a:prstGeom>
        <a:solidFill>
          <a:schemeClr val="lt1">
            <a:hueOff val="0"/>
            <a:satOff val="0"/>
            <a:lumOff val="0"/>
            <a:alphaOff val="0"/>
          </a:schemeClr>
        </a:solidFill>
        <a:ln w="12700" cap="flat" cmpd="sng" algn="ctr">
          <a:noFill/>
          <a:prstDash val="solid"/>
          <a:miter lim="800000"/>
        </a:ln>
        <a:effectLst/>
        <a:scene3d>
          <a:camera prst="orthographicFront">
            <a:rot lat="0" lon="0" rev="0"/>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ES" sz="1200" b="1" kern="1200" dirty="0" err="1">
              <a:latin typeface="Bahnschrift SemiCondensed" panose="020B0502040204020203" pitchFamily="34" charset="0"/>
            </a:rPr>
            <a:t>Abundant</a:t>
          </a:r>
          <a:r>
            <a:rPr lang="es-ES" sz="1200" b="1" kern="1200" dirty="0">
              <a:latin typeface="Bahnschrift SemiCondensed" panose="020B0502040204020203" pitchFamily="34" charset="0"/>
            </a:rPr>
            <a:t> parking </a:t>
          </a:r>
          <a:r>
            <a:rPr lang="es-ES" sz="1200" b="1" kern="1200" dirty="0" err="1">
              <a:latin typeface="Bahnschrift SemiCondensed" panose="020B0502040204020203" pitchFamily="34" charset="0"/>
            </a:rPr>
            <a:t>availability</a:t>
          </a:r>
          <a:endParaRPr lang="es-ES" sz="1200" b="1" kern="1200" dirty="0">
            <a:latin typeface="Bahnschrift SemiCondensed" panose="020B0502040204020203" pitchFamily="34" charset="0"/>
          </a:endParaRPr>
        </a:p>
      </dsp:txBody>
      <dsp:txXfrm>
        <a:off x="1865619" y="2423217"/>
        <a:ext cx="1120642" cy="620915"/>
      </dsp:txXfrm>
    </dsp:sp>
    <dsp:sp modelId="{0EDDA362-817E-4E7A-AD82-2666D29ACED2}">
      <dsp:nvSpPr>
        <dsp:cNvPr id="0" name=""/>
        <dsp:cNvSpPr/>
      </dsp:nvSpPr>
      <dsp:spPr>
        <a:xfrm>
          <a:off x="2425941" y="346444"/>
          <a:ext cx="4774460" cy="4774460"/>
        </a:xfrm>
        <a:custGeom>
          <a:avLst/>
          <a:gdLst/>
          <a:ahLst/>
          <a:cxnLst/>
          <a:rect l="0" t="0" r="0" b="0"/>
          <a:pathLst>
            <a:path>
              <a:moveTo>
                <a:pt x="65349" y="1832486"/>
              </a:moveTo>
              <a:arcTo wR="2387230" hR="2387230" stAng="11606232" swAng="940471"/>
            </a:path>
          </a:pathLst>
        </a:custGeom>
        <a:noFill/>
        <a:ln w="15875" cap="flat" cmpd="sng" algn="ctr">
          <a:solidFill>
            <a:schemeClr val="accent6"/>
          </a:solidFill>
          <a:prstDash val="solid"/>
          <a:miter lim="800000"/>
          <a:tailEnd type="arrow"/>
        </a:ln>
        <a:effectLst/>
        <a:scene3d>
          <a:camera prst="orthographicFront">
            <a:rot lat="0" lon="0" rev="0"/>
          </a:camera>
          <a:lightRig rig="threePt" dir="t"/>
        </a:scene3d>
      </dsp:spPr>
      <dsp:style>
        <a:lnRef idx="1">
          <a:scrgbClr r="0" g="0" b="0"/>
        </a:lnRef>
        <a:fillRef idx="0">
          <a:scrgbClr r="0" g="0" b="0"/>
        </a:fillRef>
        <a:effectRef idx="0">
          <a:scrgbClr r="0" g="0" b="0"/>
        </a:effectRef>
        <a:fontRef idx="minor"/>
      </dsp:style>
    </dsp:sp>
    <dsp:sp modelId="{437E45D7-6D5E-4B65-8591-108377112BCC}">
      <dsp:nvSpPr>
        <dsp:cNvPr id="0" name=""/>
        <dsp:cNvSpPr/>
      </dsp:nvSpPr>
      <dsp:spPr>
        <a:xfrm>
          <a:off x="2431141" y="701600"/>
          <a:ext cx="1388005" cy="688095"/>
        </a:xfrm>
        <a:prstGeom prst="roundRect">
          <a:avLst/>
        </a:prstGeom>
        <a:solidFill>
          <a:schemeClr val="lt1">
            <a:hueOff val="0"/>
            <a:satOff val="0"/>
            <a:lumOff val="0"/>
            <a:alphaOff val="0"/>
          </a:schemeClr>
        </a:solidFill>
        <a:ln w="12700" cap="flat" cmpd="sng" algn="ctr">
          <a:noFill/>
          <a:prstDash val="solid"/>
          <a:miter lim="800000"/>
        </a:ln>
        <a:effectLst/>
        <a:scene3d>
          <a:camera prst="orthographicFront">
            <a:rot lat="0" lon="0" rev="0"/>
          </a:camera>
          <a:lightRig rig="threePt" dir="t"/>
        </a:scene3d>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s-ES" sz="1200" b="1" kern="1200" dirty="0" err="1">
              <a:latin typeface="Bahnschrift SemiCondensed" panose="020B0502040204020203" pitchFamily="34" charset="0"/>
            </a:rPr>
            <a:t>Patterns</a:t>
          </a:r>
          <a:r>
            <a:rPr lang="es-ES" sz="1200" b="1" kern="1200" dirty="0">
              <a:latin typeface="Bahnschrift SemiCondensed" panose="020B0502040204020203" pitchFamily="34" charset="0"/>
            </a:rPr>
            <a:t> </a:t>
          </a:r>
          <a:r>
            <a:rPr lang="es-ES" sz="1200" b="1" kern="1200" dirty="0" err="1">
              <a:latin typeface="Bahnschrift SemiCondensed" panose="020B0502040204020203" pitchFamily="34" charset="0"/>
            </a:rPr>
            <a:t>of</a:t>
          </a:r>
          <a:r>
            <a:rPr lang="es-ES" sz="1200" b="1" kern="1200" dirty="0">
              <a:latin typeface="Bahnschrift SemiCondensed" panose="020B0502040204020203" pitchFamily="34" charset="0"/>
            </a:rPr>
            <a:t> </a:t>
          </a:r>
          <a:r>
            <a:rPr lang="es-ES" sz="1200" b="1" kern="1200" dirty="0" err="1">
              <a:latin typeface="Bahnschrift SemiCondensed" panose="020B0502040204020203" pitchFamily="34" charset="0"/>
            </a:rPr>
            <a:t>scattered</a:t>
          </a:r>
          <a:r>
            <a:rPr lang="es-ES" sz="1200" b="1" kern="1200" dirty="0">
              <a:latin typeface="Bahnschrift SemiCondensed" panose="020B0502040204020203" pitchFamily="34" charset="0"/>
            </a:rPr>
            <a:t> </a:t>
          </a:r>
          <a:r>
            <a:rPr lang="es-ES" sz="1200" b="1" kern="1200" dirty="0" err="1">
              <a:latin typeface="Bahnschrift SemiCondensed" panose="020B0502040204020203" pitchFamily="34" charset="0"/>
            </a:rPr>
            <a:t>developments</a:t>
          </a:r>
          <a:endParaRPr lang="es-ES" sz="1200" b="1" kern="1200" dirty="0">
            <a:latin typeface="Bahnschrift SemiCondensed" panose="020B0502040204020203" pitchFamily="34" charset="0"/>
          </a:endParaRPr>
        </a:p>
      </dsp:txBody>
      <dsp:txXfrm>
        <a:off x="2464731" y="735190"/>
        <a:ext cx="1320825" cy="620915"/>
      </dsp:txXfrm>
    </dsp:sp>
    <dsp:sp modelId="{239028E4-C4B3-4772-90C3-9C8868829413}">
      <dsp:nvSpPr>
        <dsp:cNvPr id="0" name=""/>
        <dsp:cNvSpPr/>
      </dsp:nvSpPr>
      <dsp:spPr>
        <a:xfrm>
          <a:off x="2425941" y="346444"/>
          <a:ext cx="4774460" cy="4774460"/>
        </a:xfrm>
        <a:custGeom>
          <a:avLst/>
          <a:gdLst/>
          <a:ahLst/>
          <a:cxnLst/>
          <a:rect l="0" t="0" r="0" b="0"/>
          <a:pathLst>
            <a:path>
              <a:moveTo>
                <a:pt x="1236877" y="295446"/>
              </a:moveTo>
              <a:arcTo wR="2387230" hR="2387230" stAng="14471515" swAng="514589"/>
            </a:path>
          </a:pathLst>
        </a:custGeom>
        <a:noFill/>
        <a:ln w="15875" cap="flat" cmpd="sng" algn="ctr">
          <a:solidFill>
            <a:schemeClr val="accent6"/>
          </a:solidFill>
          <a:prstDash val="solid"/>
          <a:miter lim="800000"/>
          <a:tailEnd type="arrow"/>
        </a:ln>
        <a:effectLst/>
        <a:scene3d>
          <a:camera prst="orthographicFront">
            <a:rot lat="0" lon="0" rev="0"/>
          </a:camera>
          <a:lightRig rig="threePt" dir="t"/>
        </a:scene3d>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BB459F-6001-4FFC-8A38-740777DCF581}">
      <dsp:nvSpPr>
        <dsp:cNvPr id="0" name=""/>
        <dsp:cNvSpPr/>
      </dsp:nvSpPr>
      <dsp:spPr>
        <a:xfrm>
          <a:off x="2661046" y="1572"/>
          <a:ext cx="2805906" cy="1402953"/>
        </a:xfrm>
        <a:prstGeom prst="roundRect">
          <a:avLst>
            <a:gd name="adj" fmla="val 10000"/>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MX" sz="2000" b="1" kern="1200" dirty="0">
              <a:latin typeface="Source Sans Pro"/>
              <a:ea typeface="+mn-ea"/>
              <a:cs typeface="+mn-cs"/>
            </a:rPr>
            <a:t>ECONOMICALLY POSSIBLE</a:t>
          </a:r>
        </a:p>
      </dsp:txBody>
      <dsp:txXfrm>
        <a:off x="2702137" y="42663"/>
        <a:ext cx="2723724" cy="1320771"/>
      </dsp:txXfrm>
    </dsp:sp>
    <dsp:sp modelId="{41639367-F2B9-48C7-8A72-0C92685E2C27}">
      <dsp:nvSpPr>
        <dsp:cNvPr id="0" name=""/>
        <dsp:cNvSpPr/>
      </dsp:nvSpPr>
      <dsp:spPr>
        <a:xfrm rot="3600000">
          <a:off x="4491365" y="2463816"/>
          <a:ext cx="1461927" cy="491033"/>
        </a:xfrm>
        <a:prstGeom prst="leftRightArrow">
          <a:avLst>
            <a:gd name="adj1" fmla="val 60000"/>
            <a:gd name="adj2" fmla="val 50000"/>
          </a:avLst>
        </a:prstGeom>
        <a:solidFill>
          <a:schemeClr val="accent4">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s-MX" sz="2000" kern="1200">
            <a:solidFill>
              <a:srgbClr val="0A0A0A">
                <a:hueOff val="0"/>
                <a:satOff val="0"/>
                <a:lumOff val="0"/>
                <a:alphaOff val="0"/>
              </a:srgbClr>
            </a:solidFill>
            <a:latin typeface="Source Sans Pro"/>
            <a:ea typeface="+mn-ea"/>
            <a:cs typeface="+mn-cs"/>
          </a:endParaRPr>
        </a:p>
      </dsp:txBody>
      <dsp:txXfrm>
        <a:off x="4638675" y="2562023"/>
        <a:ext cx="1167307" cy="294619"/>
      </dsp:txXfrm>
    </dsp:sp>
    <dsp:sp modelId="{E8F73E63-5042-4082-BCDD-DC258D6DD1F7}">
      <dsp:nvSpPr>
        <dsp:cNvPr id="0" name=""/>
        <dsp:cNvSpPr/>
      </dsp:nvSpPr>
      <dsp:spPr>
        <a:xfrm>
          <a:off x="4977704" y="4014141"/>
          <a:ext cx="2805906" cy="1402953"/>
        </a:xfrm>
        <a:prstGeom prst="roundRect">
          <a:avLst>
            <a:gd name="adj" fmla="val 10000"/>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s-MX" sz="2400" b="1" kern="1200">
              <a:latin typeface="Source Sans Pro"/>
              <a:ea typeface="+mn-ea"/>
              <a:cs typeface="+mn-cs"/>
            </a:rPr>
            <a:t>SOCIALLY FEASIBLE</a:t>
          </a:r>
          <a:endParaRPr lang="es-MX" sz="2400" b="1" kern="1200" dirty="0">
            <a:latin typeface="Source Sans Pro"/>
            <a:ea typeface="+mn-ea"/>
            <a:cs typeface="+mn-cs"/>
          </a:endParaRPr>
        </a:p>
      </dsp:txBody>
      <dsp:txXfrm>
        <a:off x="5018795" y="4055232"/>
        <a:ext cx="2723724" cy="1320771"/>
      </dsp:txXfrm>
    </dsp:sp>
    <dsp:sp modelId="{F1156375-5831-40F3-8F86-76BF4CFB5828}">
      <dsp:nvSpPr>
        <dsp:cNvPr id="0" name=""/>
        <dsp:cNvSpPr/>
      </dsp:nvSpPr>
      <dsp:spPr>
        <a:xfrm rot="10800000">
          <a:off x="3333036" y="4470101"/>
          <a:ext cx="1461927" cy="491033"/>
        </a:xfrm>
        <a:prstGeom prst="leftRightArrow">
          <a:avLst>
            <a:gd name="adj1" fmla="val 60000"/>
            <a:gd name="adj2" fmla="val 50000"/>
          </a:avLst>
        </a:prstGeom>
        <a:solidFill>
          <a:schemeClr val="accent4">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s-MX" sz="2000" kern="1200" dirty="0">
            <a:solidFill>
              <a:srgbClr val="0A0A0A">
                <a:hueOff val="0"/>
                <a:satOff val="0"/>
                <a:lumOff val="0"/>
                <a:alphaOff val="0"/>
              </a:srgbClr>
            </a:solidFill>
            <a:latin typeface="Source Sans Pro"/>
            <a:ea typeface="+mn-ea"/>
            <a:cs typeface="+mn-cs"/>
          </a:endParaRPr>
        </a:p>
      </dsp:txBody>
      <dsp:txXfrm rot="10800000">
        <a:off x="3480346" y="4568308"/>
        <a:ext cx="1167307" cy="294619"/>
      </dsp:txXfrm>
    </dsp:sp>
    <dsp:sp modelId="{86BA4912-C3CA-4F89-BC58-E6EC0D1288CA}">
      <dsp:nvSpPr>
        <dsp:cNvPr id="0" name=""/>
        <dsp:cNvSpPr/>
      </dsp:nvSpPr>
      <dsp:spPr>
        <a:xfrm>
          <a:off x="344389" y="4014141"/>
          <a:ext cx="2805906" cy="1402953"/>
        </a:xfrm>
        <a:prstGeom prst="roundRect">
          <a:avLst>
            <a:gd name="adj" fmla="val 10000"/>
          </a:avLst>
        </a:prstGeom>
        <a:solidFill>
          <a:schemeClr val="lt1">
            <a:hueOff val="0"/>
            <a:satOff val="0"/>
            <a:lumOff val="0"/>
            <a:alphaOff val="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s-MX" sz="2000" b="1" kern="1200">
              <a:latin typeface="Source Sans Pro"/>
              <a:ea typeface="+mn-ea"/>
              <a:cs typeface="+mn-cs"/>
            </a:rPr>
            <a:t>ENVIRONMENTALLY FRIENDLY</a:t>
          </a:r>
          <a:endParaRPr lang="es-MX" sz="2000" b="1" kern="1200" dirty="0">
            <a:latin typeface="Source Sans Pro"/>
            <a:ea typeface="+mn-ea"/>
            <a:cs typeface="+mn-cs"/>
          </a:endParaRPr>
        </a:p>
      </dsp:txBody>
      <dsp:txXfrm>
        <a:off x="385480" y="4055232"/>
        <a:ext cx="2723724" cy="1320771"/>
      </dsp:txXfrm>
    </dsp:sp>
    <dsp:sp modelId="{40935B0F-9F97-485E-B4EC-44C791D25134}">
      <dsp:nvSpPr>
        <dsp:cNvPr id="0" name=""/>
        <dsp:cNvSpPr/>
      </dsp:nvSpPr>
      <dsp:spPr>
        <a:xfrm rot="18000000">
          <a:off x="2174707" y="2463816"/>
          <a:ext cx="1461927" cy="491033"/>
        </a:xfrm>
        <a:prstGeom prst="leftRightArrow">
          <a:avLst>
            <a:gd name="adj1" fmla="val 60000"/>
            <a:gd name="adj2" fmla="val 50000"/>
          </a:avLst>
        </a:prstGeom>
        <a:solidFill>
          <a:schemeClr val="accent4">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s-MX" sz="2000" kern="1200">
            <a:solidFill>
              <a:srgbClr val="0A0A0A">
                <a:hueOff val="0"/>
                <a:satOff val="0"/>
                <a:lumOff val="0"/>
                <a:alphaOff val="0"/>
              </a:srgbClr>
            </a:solidFill>
            <a:latin typeface="Source Sans Pro"/>
            <a:ea typeface="+mn-ea"/>
            <a:cs typeface="+mn-cs"/>
          </a:endParaRPr>
        </a:p>
      </dsp:txBody>
      <dsp:txXfrm>
        <a:off x="2322017" y="2562023"/>
        <a:ext cx="1167307" cy="294619"/>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CAAC59-9C09-4CB1-A438-7E8416183166}" type="datetimeFigureOut">
              <a:rPr lang="de-DE" smtClean="0"/>
              <a:t>05.11.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83492A-4E55-47C1-A629-C2686615A461}" type="slidenum">
              <a:rPr lang="de-DE" smtClean="0"/>
              <a:t>‹Nº›</a:t>
            </a:fld>
            <a:endParaRPr lang="de-DE"/>
          </a:p>
        </p:txBody>
      </p:sp>
    </p:spTree>
    <p:extLst>
      <p:ext uri="{BB962C8B-B14F-4D97-AF65-F5344CB8AC3E}">
        <p14:creationId xmlns:p14="http://schemas.microsoft.com/office/powerpoint/2010/main" val="11120955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MX" dirty="0"/>
          </a:p>
        </p:txBody>
      </p:sp>
      <p:sp>
        <p:nvSpPr>
          <p:cNvPr id="4" name="Marcador de número de diapositiva 3"/>
          <p:cNvSpPr>
            <a:spLocks noGrp="1"/>
          </p:cNvSpPr>
          <p:nvPr>
            <p:ph type="sldNum" sz="quarter" idx="5"/>
          </p:nvPr>
        </p:nvSpPr>
        <p:spPr/>
        <p:txBody>
          <a:bodyPr/>
          <a:lstStyle/>
          <a:p>
            <a:fld id="{7A83492A-4E55-47C1-A629-C2686615A461}" type="slidenum">
              <a:rPr lang="de-DE" smtClean="0"/>
              <a:t>1</a:t>
            </a:fld>
            <a:endParaRPr lang="de-DE"/>
          </a:p>
        </p:txBody>
      </p:sp>
    </p:spTree>
    <p:extLst>
      <p:ext uri="{BB962C8B-B14F-4D97-AF65-F5344CB8AC3E}">
        <p14:creationId xmlns:p14="http://schemas.microsoft.com/office/powerpoint/2010/main" val="3882505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89168-A512-4384-4FAC-F8A3FD5852B6}"/>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E18826ED-2884-772F-D11A-6D079BA3C1AC}"/>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129045AA-6E49-8B8D-0619-4998A41BA91F}"/>
              </a:ext>
            </a:extLst>
          </p:cNvPr>
          <p:cNvSpPr>
            <a:spLocks noGrp="1"/>
          </p:cNvSpPr>
          <p:nvPr>
            <p:ph type="body" idx="1"/>
          </p:nvPr>
        </p:nvSpPr>
        <p:spPr/>
        <p:txBody>
          <a:bodyPr/>
          <a:lstStyle/>
          <a:p>
            <a:endParaRPr lang="es-MX" dirty="0"/>
          </a:p>
        </p:txBody>
      </p:sp>
      <p:sp>
        <p:nvSpPr>
          <p:cNvPr id="4" name="Marcador de número de diapositiva 3">
            <a:extLst>
              <a:ext uri="{FF2B5EF4-FFF2-40B4-BE49-F238E27FC236}">
                <a16:creationId xmlns:a16="http://schemas.microsoft.com/office/drawing/2014/main" id="{4D2701B0-B15C-1747-C615-D3D1FE8B32BF}"/>
              </a:ext>
            </a:extLst>
          </p:cNvPr>
          <p:cNvSpPr>
            <a:spLocks noGrp="1"/>
          </p:cNvSpPr>
          <p:nvPr>
            <p:ph type="sldNum" sz="quarter" idx="5"/>
          </p:nvPr>
        </p:nvSpPr>
        <p:spPr/>
        <p:txBody>
          <a:bodyPr/>
          <a:lstStyle/>
          <a:p>
            <a:fld id="{7A83492A-4E55-47C1-A629-C2686615A461}" type="slidenum">
              <a:rPr lang="de-DE" smtClean="0"/>
              <a:t>3</a:t>
            </a:fld>
            <a:endParaRPr lang="de-DE"/>
          </a:p>
        </p:txBody>
      </p:sp>
    </p:spTree>
    <p:extLst>
      <p:ext uri="{BB962C8B-B14F-4D97-AF65-F5344CB8AC3E}">
        <p14:creationId xmlns:p14="http://schemas.microsoft.com/office/powerpoint/2010/main" val="13758371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12.emf"/><Relationship Id="rId5" Type="http://schemas.openxmlformats.org/officeDocument/2006/relationships/tags" Target="../tags/tag5.xml"/><Relationship Id="rId10"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image" Target="../media/image11.jpeg"/></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259F07D8-8C01-49F5-B4B3-955F5217A864}"/>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5133030A-6ED6-40F8-BEC8-1F1A35D0FA8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2" name="Rechteck 11">
              <a:extLst>
                <a:ext uri="{FF2B5EF4-FFF2-40B4-BE49-F238E27FC236}">
                  <a16:creationId xmlns:a16="http://schemas.microsoft.com/office/drawing/2014/main" id="{01A9A534-E323-4B0D-A957-1257F353D109}"/>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7" name="Titel 6">
            <a:extLst>
              <a:ext uri="{FF2B5EF4-FFF2-40B4-BE49-F238E27FC236}">
                <a16:creationId xmlns:a16="http://schemas.microsoft.com/office/drawing/2014/main" id="{24B92995-E18B-4227-B0DD-BFDDD3F61A1F}"/>
              </a:ext>
            </a:extLst>
          </p:cNvPr>
          <p:cNvSpPr>
            <a:spLocks noGrp="1"/>
          </p:cNvSpPr>
          <p:nvPr>
            <p:ph type="title"/>
          </p:nvPr>
        </p:nvSpPr>
        <p:spPr>
          <a:xfrm>
            <a:off x="632918" y="4268159"/>
            <a:ext cx="9178159" cy="1289817"/>
          </a:xfrm>
        </p:spPr>
        <p:txBody>
          <a:bodyPr anchor="b"/>
          <a:lstStyle>
            <a:lvl1pPr>
              <a:lnSpc>
                <a:spcPts val="5000"/>
              </a:lnSpc>
              <a:defRPr sz="4600">
                <a:solidFill>
                  <a:schemeClr val="bg1"/>
                </a:solidFill>
              </a:defRPr>
            </a:lvl1pPr>
          </a:lstStyle>
          <a:p>
            <a:r>
              <a:rPr lang="es-ES"/>
              <a:t>Haga clic para modificar el estilo de título del patrón</a:t>
            </a:r>
            <a:endParaRPr lang="de-DE"/>
          </a:p>
        </p:txBody>
      </p:sp>
      <p:sp>
        <p:nvSpPr>
          <p:cNvPr id="9" name="Textplatzhalter 8">
            <a:extLst>
              <a:ext uri="{FF2B5EF4-FFF2-40B4-BE49-F238E27FC236}">
                <a16:creationId xmlns:a16="http://schemas.microsoft.com/office/drawing/2014/main" id="{3FFEAEA6-7D21-450F-9C48-044D9B75A497}"/>
              </a:ext>
            </a:extLst>
          </p:cNvPr>
          <p:cNvSpPr>
            <a:spLocks noGrp="1"/>
          </p:cNvSpPr>
          <p:nvPr>
            <p:ph type="body" sz="quarter" idx="10"/>
          </p:nvPr>
        </p:nvSpPr>
        <p:spPr>
          <a:xfrm>
            <a:off x="632917" y="5864571"/>
            <a:ext cx="9178159" cy="288055"/>
          </a:xfrm>
        </p:spPr>
        <p:txBody>
          <a:bodyPr/>
          <a:lstStyle>
            <a:lvl1pPr>
              <a:buNone/>
              <a:defRPr>
                <a:solidFill>
                  <a:schemeClr val="bg1"/>
                </a:solidFill>
                <a:latin typeface="Source Sans Pro Semibold" panose="020B0603030403020204" pitchFamily="34" charset="0"/>
              </a:defRPr>
            </a:lvl1pPr>
          </a:lstStyle>
          <a:p>
            <a:pPr lvl="0"/>
            <a:r>
              <a:rPr lang="es-ES"/>
              <a:t>Haga clic para modificar los estilos de texto del patrón</a:t>
            </a:r>
          </a:p>
        </p:txBody>
      </p:sp>
      <p:pic>
        <p:nvPicPr>
          <p:cNvPr id="2" name="Picture 1" descr="A map of the world with dots and lines&#10;&#10;Description automatically generated">
            <a:extLst>
              <a:ext uri="{FF2B5EF4-FFF2-40B4-BE49-F238E27FC236}">
                <a16:creationId xmlns:a16="http://schemas.microsoft.com/office/drawing/2014/main" id="{8568E9B1-FF19-68AD-C160-0CDCEE9FEE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8128" y="129136"/>
            <a:ext cx="4711282" cy="2845236"/>
          </a:xfrm>
          <a:prstGeom prst="rect">
            <a:avLst/>
          </a:prstGeom>
        </p:spPr>
      </p:pic>
    </p:spTree>
    <p:extLst>
      <p:ext uri="{BB962C8B-B14F-4D97-AF65-F5344CB8AC3E}">
        <p14:creationId xmlns:p14="http://schemas.microsoft.com/office/powerpoint/2010/main" val="739786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nner">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C875FCA7-157E-4716-823A-F5615D6C6F63}"/>
              </a:ext>
            </a:extLst>
          </p:cNvPr>
          <p:cNvGrpSpPr/>
          <p:nvPr userDrawn="1"/>
        </p:nvGrpSpPr>
        <p:grpSpPr>
          <a:xfrm>
            <a:off x="0" y="0"/>
            <a:ext cx="12192000" cy="6858000"/>
            <a:chOff x="0" y="0"/>
            <a:chExt cx="12192000" cy="6858000"/>
          </a:xfrm>
        </p:grpSpPr>
        <p:sp>
          <p:nvSpPr>
            <p:cNvPr id="7" name="Rechteck 6">
              <a:extLst>
                <a:ext uri="{FF2B5EF4-FFF2-40B4-BE49-F238E27FC236}">
                  <a16:creationId xmlns:a16="http://schemas.microsoft.com/office/drawing/2014/main" id="{36ED80F3-17B8-40F4-93B8-F99C5506E688}"/>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8" name="Rechteck 7">
              <a:extLst>
                <a:ext uri="{FF2B5EF4-FFF2-40B4-BE49-F238E27FC236}">
                  <a16:creationId xmlns:a16="http://schemas.microsoft.com/office/drawing/2014/main" id="{5C6042A5-0C39-4605-8158-8C1B3D7B7576}"/>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 name="Titel 1">
            <a:extLst>
              <a:ext uri="{FF2B5EF4-FFF2-40B4-BE49-F238E27FC236}">
                <a16:creationId xmlns:a16="http://schemas.microsoft.com/office/drawing/2014/main" id="{2EAF25B4-BF1E-44E5-A8B4-37A02DB69853}"/>
              </a:ext>
            </a:extLst>
          </p:cNvPr>
          <p:cNvSpPr>
            <a:spLocks noGrp="1"/>
          </p:cNvSpPr>
          <p:nvPr>
            <p:ph type="title"/>
          </p:nvPr>
        </p:nvSpPr>
        <p:spPr>
          <a:xfrm>
            <a:off x="1946073" y="4350814"/>
            <a:ext cx="9073008" cy="1742482"/>
          </a:xfrm>
        </p:spPr>
        <p:txBody>
          <a:bodyPr>
            <a:normAutofit/>
          </a:bodyPr>
          <a:lstStyle>
            <a:lvl1pPr>
              <a:lnSpc>
                <a:spcPts val="5200"/>
              </a:lnSpc>
              <a:defRPr sz="4800">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5B22A2CF-2409-4894-8998-C2CB9E12FDC1}"/>
              </a:ext>
            </a:extLst>
          </p:cNvPr>
          <p:cNvSpPr>
            <a:spLocks noGrp="1"/>
          </p:cNvSpPr>
          <p:nvPr>
            <p:ph type="dt" sz="half" idx="10"/>
          </p:nvPr>
        </p:nvSpPr>
        <p:spPr/>
        <p:txBody>
          <a:bodyPr/>
          <a:lstStyle>
            <a:lvl1pPr>
              <a:defRPr>
                <a:solidFill>
                  <a:schemeClr val="bg1"/>
                </a:solidFill>
              </a:defRPr>
            </a:lvl1pPr>
          </a:lstStyle>
          <a:p>
            <a:fld id="{E098B92B-BEB6-4D2D-923E-36B753FF6FF8}" type="datetime1">
              <a:rPr lang="de-DE" smtClean="0"/>
              <a:pPr/>
              <a:t>05.11.2024</a:t>
            </a:fld>
            <a:endParaRPr lang="de-DE"/>
          </a:p>
        </p:txBody>
      </p:sp>
      <p:sp>
        <p:nvSpPr>
          <p:cNvPr id="4" name="Fußzeilenplatzhalter 3">
            <a:extLst>
              <a:ext uri="{FF2B5EF4-FFF2-40B4-BE49-F238E27FC236}">
                <a16:creationId xmlns:a16="http://schemas.microsoft.com/office/drawing/2014/main" id="{59F15179-DA75-412F-86E7-65234521C584}"/>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8756A8CC-81E2-4FC9-A017-5BE7B3CC2E11}"/>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Tree>
    <p:extLst>
      <p:ext uri="{BB962C8B-B14F-4D97-AF65-F5344CB8AC3E}">
        <p14:creationId xmlns:p14="http://schemas.microsoft.com/office/powerpoint/2010/main" val="24033072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nner mit Bild">
    <p:spTree>
      <p:nvGrpSpPr>
        <p:cNvPr id="1" name=""/>
        <p:cNvGrpSpPr/>
        <p:nvPr/>
      </p:nvGrpSpPr>
      <p:grpSpPr>
        <a:xfrm>
          <a:off x="0" y="0"/>
          <a:ext cx="0" cy="0"/>
          <a:chOff x="0" y="0"/>
          <a:chExt cx="0" cy="0"/>
        </a:xfrm>
      </p:grpSpPr>
      <p:grpSp>
        <p:nvGrpSpPr>
          <p:cNvPr id="19" name="Gruppieren 18">
            <a:extLst>
              <a:ext uri="{FF2B5EF4-FFF2-40B4-BE49-F238E27FC236}">
                <a16:creationId xmlns:a16="http://schemas.microsoft.com/office/drawing/2014/main" id="{C3E7E663-E895-4B17-A65E-1DE060EFDB1E}"/>
              </a:ext>
            </a:extLst>
          </p:cNvPr>
          <p:cNvGrpSpPr/>
          <p:nvPr userDrawn="1"/>
        </p:nvGrpSpPr>
        <p:grpSpPr>
          <a:xfrm>
            <a:off x="0" y="0"/>
            <a:ext cx="12192000" cy="6858000"/>
            <a:chOff x="0" y="0"/>
            <a:chExt cx="12192000" cy="6858000"/>
          </a:xfrm>
        </p:grpSpPr>
        <p:sp>
          <p:nvSpPr>
            <p:cNvPr id="20" name="Rechteck 19">
              <a:extLst>
                <a:ext uri="{FF2B5EF4-FFF2-40B4-BE49-F238E27FC236}">
                  <a16:creationId xmlns:a16="http://schemas.microsoft.com/office/drawing/2014/main" id="{5F0BDF2E-725B-4371-B2CA-77AF2429DF13}"/>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21" name="Rechteck 20">
              <a:extLst>
                <a:ext uri="{FF2B5EF4-FFF2-40B4-BE49-F238E27FC236}">
                  <a16:creationId xmlns:a16="http://schemas.microsoft.com/office/drawing/2014/main" id="{B680F51C-2443-4A5D-BF64-9E3F8B2E4E4D}"/>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17" name="Bildplatzhalter 16">
            <a:extLst>
              <a:ext uri="{FF2B5EF4-FFF2-40B4-BE49-F238E27FC236}">
                <a16:creationId xmlns:a16="http://schemas.microsoft.com/office/drawing/2014/main" id="{62850BC4-383B-4DF9-AB75-202C331A360D}"/>
              </a:ext>
            </a:extLst>
          </p:cNvPr>
          <p:cNvSpPr>
            <a:spLocks noGrp="1"/>
          </p:cNvSpPr>
          <p:nvPr>
            <p:ph type="pic" sz="quarter" idx="13" hasCustomPrompt="1"/>
          </p:nvPr>
        </p:nvSpPr>
        <p:spPr>
          <a:xfrm>
            <a:off x="1" y="0"/>
            <a:ext cx="7360388" cy="6858000"/>
          </a:xfrm>
          <a:custGeom>
            <a:avLst/>
            <a:gdLst>
              <a:gd name="connsiteX0" fmla="*/ 0 w 7360388"/>
              <a:gd name="connsiteY0" fmla="*/ 0 h 6858000"/>
              <a:gd name="connsiteX1" fmla="*/ 7360388 w 7360388"/>
              <a:gd name="connsiteY1" fmla="*/ 0 h 6858000"/>
              <a:gd name="connsiteX2" fmla="*/ 1142917 w 7360388"/>
              <a:gd name="connsiteY2" fmla="*/ 6858000 h 6858000"/>
              <a:gd name="connsiteX3" fmla="*/ 0 w 736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360388" h="6858000">
                <a:moveTo>
                  <a:pt x="0" y="0"/>
                </a:moveTo>
                <a:lnTo>
                  <a:pt x="7360388" y="0"/>
                </a:lnTo>
                <a:lnTo>
                  <a:pt x="1142917" y="6858000"/>
                </a:lnTo>
                <a:lnTo>
                  <a:pt x="0" y="685800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3" name="Datumsplatzhalter 2">
            <a:extLst>
              <a:ext uri="{FF2B5EF4-FFF2-40B4-BE49-F238E27FC236}">
                <a16:creationId xmlns:a16="http://schemas.microsoft.com/office/drawing/2014/main" id="{536BC897-BB78-44C4-AA95-DD2D1AF459C3}"/>
              </a:ext>
            </a:extLst>
          </p:cNvPr>
          <p:cNvSpPr>
            <a:spLocks noGrp="1"/>
          </p:cNvSpPr>
          <p:nvPr>
            <p:ph type="dt" sz="half" idx="10"/>
          </p:nvPr>
        </p:nvSpPr>
        <p:spPr/>
        <p:txBody>
          <a:bodyPr/>
          <a:lstStyle>
            <a:lvl1pPr>
              <a:defRPr>
                <a:solidFill>
                  <a:schemeClr val="bg1"/>
                </a:solidFill>
              </a:defRPr>
            </a:lvl1pPr>
          </a:lstStyle>
          <a:p>
            <a:fld id="{220EC540-5CF3-4A52-B191-132A7EB5EFD1}" type="datetime1">
              <a:rPr lang="de-DE" smtClean="0"/>
              <a:pPr/>
              <a:t>05.11.2024</a:t>
            </a:fld>
            <a:endParaRPr lang="de-DE"/>
          </a:p>
        </p:txBody>
      </p:sp>
      <p:sp>
        <p:nvSpPr>
          <p:cNvPr id="4" name="Fußzeilenplatzhalter 3">
            <a:extLst>
              <a:ext uri="{FF2B5EF4-FFF2-40B4-BE49-F238E27FC236}">
                <a16:creationId xmlns:a16="http://schemas.microsoft.com/office/drawing/2014/main" id="{C3854A2C-BA52-4648-9F82-4CC206B14E2A}"/>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70178539-30B0-4CF3-80CA-43ED257F50D3}"/>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18" name="Titel 1">
            <a:extLst>
              <a:ext uri="{FF2B5EF4-FFF2-40B4-BE49-F238E27FC236}">
                <a16:creationId xmlns:a16="http://schemas.microsoft.com/office/drawing/2014/main" id="{A5F7B4EB-CFB4-4EB6-86CE-1F7D2A2CAE4A}"/>
              </a:ext>
            </a:extLst>
          </p:cNvPr>
          <p:cNvSpPr>
            <a:spLocks noGrp="1"/>
          </p:cNvSpPr>
          <p:nvPr>
            <p:ph type="title"/>
          </p:nvPr>
        </p:nvSpPr>
        <p:spPr>
          <a:xfrm>
            <a:off x="6913492" y="3748565"/>
            <a:ext cx="4835595" cy="1742482"/>
          </a:xfrm>
        </p:spPr>
        <p:txBody>
          <a:bodyPr>
            <a:normAutofit/>
          </a:bodyPr>
          <a:lstStyle>
            <a:lvl1pPr>
              <a:lnSpc>
                <a:spcPts val="5200"/>
              </a:lnSpc>
              <a:defRPr sz="4800">
                <a:solidFill>
                  <a:schemeClr val="bg1"/>
                </a:solidFill>
              </a:defRPr>
            </a:lvl1pPr>
          </a:lstStyle>
          <a:p>
            <a:r>
              <a:rPr lang="es-ES"/>
              <a:t>Haga clic para modificar el estilo de título del patrón</a:t>
            </a:r>
            <a:endParaRPr lang="de-DE"/>
          </a:p>
        </p:txBody>
      </p:sp>
    </p:spTree>
    <p:extLst>
      <p:ext uri="{BB962C8B-B14F-4D97-AF65-F5344CB8AC3E}">
        <p14:creationId xmlns:p14="http://schemas.microsoft.com/office/powerpoint/2010/main" val="6410645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nner mit Bild hell">
    <p:spTree>
      <p:nvGrpSpPr>
        <p:cNvPr id="1" name=""/>
        <p:cNvGrpSpPr/>
        <p:nvPr/>
      </p:nvGrpSpPr>
      <p:grpSpPr>
        <a:xfrm>
          <a:off x="0" y="0"/>
          <a:ext cx="0" cy="0"/>
          <a:chOff x="0" y="0"/>
          <a:chExt cx="0" cy="0"/>
        </a:xfrm>
      </p:grpSpPr>
      <p:sp>
        <p:nvSpPr>
          <p:cNvPr id="17" name="Bildplatzhalter 16">
            <a:extLst>
              <a:ext uri="{FF2B5EF4-FFF2-40B4-BE49-F238E27FC236}">
                <a16:creationId xmlns:a16="http://schemas.microsoft.com/office/drawing/2014/main" id="{62850BC4-383B-4DF9-AB75-202C331A360D}"/>
              </a:ext>
            </a:extLst>
          </p:cNvPr>
          <p:cNvSpPr>
            <a:spLocks noGrp="1"/>
          </p:cNvSpPr>
          <p:nvPr>
            <p:ph type="pic" sz="quarter" idx="13" hasCustomPrompt="1"/>
          </p:nvPr>
        </p:nvSpPr>
        <p:spPr>
          <a:xfrm>
            <a:off x="1" y="0"/>
            <a:ext cx="7360388" cy="6858000"/>
          </a:xfrm>
          <a:custGeom>
            <a:avLst/>
            <a:gdLst>
              <a:gd name="connsiteX0" fmla="*/ 0 w 7360388"/>
              <a:gd name="connsiteY0" fmla="*/ 0 h 6858000"/>
              <a:gd name="connsiteX1" fmla="*/ 7360388 w 7360388"/>
              <a:gd name="connsiteY1" fmla="*/ 0 h 6858000"/>
              <a:gd name="connsiteX2" fmla="*/ 1142917 w 7360388"/>
              <a:gd name="connsiteY2" fmla="*/ 6858000 h 6858000"/>
              <a:gd name="connsiteX3" fmla="*/ 0 w 736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360388" h="6858000">
                <a:moveTo>
                  <a:pt x="0" y="0"/>
                </a:moveTo>
                <a:lnTo>
                  <a:pt x="7360388" y="0"/>
                </a:lnTo>
                <a:lnTo>
                  <a:pt x="1142917" y="6858000"/>
                </a:lnTo>
                <a:lnTo>
                  <a:pt x="0" y="685800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3" name="Datumsplatzhalter 2">
            <a:extLst>
              <a:ext uri="{FF2B5EF4-FFF2-40B4-BE49-F238E27FC236}">
                <a16:creationId xmlns:a16="http://schemas.microsoft.com/office/drawing/2014/main" id="{536BC897-BB78-44C4-AA95-DD2D1AF459C3}"/>
              </a:ext>
            </a:extLst>
          </p:cNvPr>
          <p:cNvSpPr>
            <a:spLocks noGrp="1"/>
          </p:cNvSpPr>
          <p:nvPr>
            <p:ph type="dt" sz="half" idx="10"/>
          </p:nvPr>
        </p:nvSpPr>
        <p:spPr/>
        <p:txBody>
          <a:bodyPr/>
          <a:lstStyle>
            <a:lvl1pPr>
              <a:defRPr>
                <a:solidFill>
                  <a:schemeClr val="accent1"/>
                </a:solidFill>
              </a:defRPr>
            </a:lvl1pPr>
          </a:lstStyle>
          <a:p>
            <a:fld id="{A249497C-A75C-4405-A32A-E74C3956442D}" type="datetime1">
              <a:rPr lang="de-DE" smtClean="0"/>
              <a:pPr/>
              <a:t>05.11.2024</a:t>
            </a:fld>
            <a:endParaRPr lang="de-DE"/>
          </a:p>
        </p:txBody>
      </p:sp>
      <p:sp>
        <p:nvSpPr>
          <p:cNvPr id="4" name="Fußzeilenplatzhalter 3">
            <a:extLst>
              <a:ext uri="{FF2B5EF4-FFF2-40B4-BE49-F238E27FC236}">
                <a16:creationId xmlns:a16="http://schemas.microsoft.com/office/drawing/2014/main" id="{C3854A2C-BA52-4648-9F82-4CC206B14E2A}"/>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70178539-30B0-4CF3-80CA-43ED257F50D3}"/>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18" name="Titel 1">
            <a:extLst>
              <a:ext uri="{FF2B5EF4-FFF2-40B4-BE49-F238E27FC236}">
                <a16:creationId xmlns:a16="http://schemas.microsoft.com/office/drawing/2014/main" id="{A5F7B4EB-CFB4-4EB6-86CE-1F7D2A2CAE4A}"/>
              </a:ext>
            </a:extLst>
          </p:cNvPr>
          <p:cNvSpPr>
            <a:spLocks noGrp="1"/>
          </p:cNvSpPr>
          <p:nvPr>
            <p:ph type="title"/>
          </p:nvPr>
        </p:nvSpPr>
        <p:spPr>
          <a:xfrm>
            <a:off x="6913492" y="3748565"/>
            <a:ext cx="4835595" cy="1742482"/>
          </a:xfrm>
        </p:spPr>
        <p:txBody>
          <a:bodyPr>
            <a:normAutofit/>
          </a:bodyPr>
          <a:lstStyle>
            <a:lvl1pPr>
              <a:lnSpc>
                <a:spcPts val="5200"/>
              </a:lnSpc>
              <a:defRPr sz="4800">
                <a:solidFill>
                  <a:srgbClr val="0082D2"/>
                </a:solidFill>
              </a:defRPr>
            </a:lvl1pPr>
          </a:lstStyle>
          <a:p>
            <a:r>
              <a:rPr lang="es-ES"/>
              <a:t>Haga clic para modificar el estilo de título del patrón</a:t>
            </a:r>
            <a:endParaRPr lang="de-DE"/>
          </a:p>
        </p:txBody>
      </p:sp>
    </p:spTree>
    <p:extLst>
      <p:ext uri="{BB962C8B-B14F-4D97-AF65-F5344CB8AC3E}">
        <p14:creationId xmlns:p14="http://schemas.microsoft.com/office/powerpoint/2010/main" val="21323493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mit Bild 01">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2" name="Bildplatzhalter 21">
            <a:extLst>
              <a:ext uri="{FF2B5EF4-FFF2-40B4-BE49-F238E27FC236}">
                <a16:creationId xmlns:a16="http://schemas.microsoft.com/office/drawing/2014/main" id="{B5F2815D-57CF-4A21-88A1-25E02F44EA09}"/>
              </a:ext>
            </a:extLst>
          </p:cNvPr>
          <p:cNvSpPr>
            <a:spLocks noGrp="1"/>
          </p:cNvSpPr>
          <p:nvPr>
            <p:ph type="pic" sz="quarter" idx="15" hasCustomPrompt="1"/>
          </p:nvPr>
        </p:nvSpPr>
        <p:spPr>
          <a:xfrm>
            <a:off x="1624196" y="2433320"/>
            <a:ext cx="10567804" cy="4424680"/>
          </a:xfrm>
          <a:custGeom>
            <a:avLst/>
            <a:gdLst>
              <a:gd name="connsiteX0" fmla="*/ 5228724 w 10567804"/>
              <a:gd name="connsiteY0" fmla="*/ 0 h 4424680"/>
              <a:gd name="connsiteX1" fmla="*/ 10567804 w 10567804"/>
              <a:gd name="connsiteY1" fmla="*/ 1585816 h 4424680"/>
              <a:gd name="connsiteX2" fmla="*/ 10567804 w 10567804"/>
              <a:gd name="connsiteY2" fmla="*/ 4424680 h 4424680"/>
              <a:gd name="connsiteX3" fmla="*/ 0 w 10567804"/>
              <a:gd name="connsiteY3" fmla="*/ 4424680 h 4424680"/>
            </a:gdLst>
            <a:ahLst/>
            <a:cxnLst>
              <a:cxn ang="0">
                <a:pos x="connsiteX0" y="connsiteY0"/>
              </a:cxn>
              <a:cxn ang="0">
                <a:pos x="connsiteX1" y="connsiteY1"/>
              </a:cxn>
              <a:cxn ang="0">
                <a:pos x="connsiteX2" y="connsiteY2"/>
              </a:cxn>
              <a:cxn ang="0">
                <a:pos x="connsiteX3" y="connsiteY3"/>
              </a:cxn>
            </a:cxnLst>
            <a:rect l="l" t="t" r="r" b="b"/>
            <a:pathLst>
              <a:path w="10567804" h="4424680">
                <a:moveTo>
                  <a:pt x="5228724" y="0"/>
                </a:moveTo>
                <a:lnTo>
                  <a:pt x="10567804" y="1585816"/>
                </a:lnTo>
                <a:lnTo>
                  <a:pt x="10567804" y="4424680"/>
                </a:lnTo>
                <a:lnTo>
                  <a:pt x="0" y="442468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446233" y="410991"/>
            <a:ext cx="5358561" cy="857769"/>
          </a:xfrm>
        </p:spPr>
        <p:txBody>
          <a:bodyPr/>
          <a:lstStyle>
            <a:lvl1pPr>
              <a:defRPr>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AAC30B7E-ABEF-47C0-91C5-B99673A2C88F}"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2170113"/>
            <a:ext cx="5361880" cy="39957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4" y="1369905"/>
            <a:ext cx="5361880"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1128554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mit Bild 01 hell">
    <p:spTree>
      <p:nvGrpSpPr>
        <p:cNvPr id="1" name=""/>
        <p:cNvGrpSpPr/>
        <p:nvPr/>
      </p:nvGrpSpPr>
      <p:grpSpPr>
        <a:xfrm>
          <a:off x="0" y="0"/>
          <a:ext cx="0" cy="0"/>
          <a:chOff x="0" y="0"/>
          <a:chExt cx="0" cy="0"/>
        </a:xfrm>
      </p:grpSpPr>
      <p:sp>
        <p:nvSpPr>
          <p:cNvPr id="22" name="Bildplatzhalter 21">
            <a:extLst>
              <a:ext uri="{FF2B5EF4-FFF2-40B4-BE49-F238E27FC236}">
                <a16:creationId xmlns:a16="http://schemas.microsoft.com/office/drawing/2014/main" id="{B5F2815D-57CF-4A21-88A1-25E02F44EA09}"/>
              </a:ext>
            </a:extLst>
          </p:cNvPr>
          <p:cNvSpPr>
            <a:spLocks noGrp="1"/>
          </p:cNvSpPr>
          <p:nvPr>
            <p:ph type="pic" sz="quarter" idx="15" hasCustomPrompt="1"/>
          </p:nvPr>
        </p:nvSpPr>
        <p:spPr>
          <a:xfrm>
            <a:off x="1624196" y="2433320"/>
            <a:ext cx="10567804" cy="4424680"/>
          </a:xfrm>
          <a:custGeom>
            <a:avLst/>
            <a:gdLst>
              <a:gd name="connsiteX0" fmla="*/ 5228724 w 10567804"/>
              <a:gd name="connsiteY0" fmla="*/ 0 h 4424680"/>
              <a:gd name="connsiteX1" fmla="*/ 10567804 w 10567804"/>
              <a:gd name="connsiteY1" fmla="*/ 1585816 h 4424680"/>
              <a:gd name="connsiteX2" fmla="*/ 10567804 w 10567804"/>
              <a:gd name="connsiteY2" fmla="*/ 4424680 h 4424680"/>
              <a:gd name="connsiteX3" fmla="*/ 0 w 10567804"/>
              <a:gd name="connsiteY3" fmla="*/ 4424680 h 4424680"/>
            </a:gdLst>
            <a:ahLst/>
            <a:cxnLst>
              <a:cxn ang="0">
                <a:pos x="connsiteX0" y="connsiteY0"/>
              </a:cxn>
              <a:cxn ang="0">
                <a:pos x="connsiteX1" y="connsiteY1"/>
              </a:cxn>
              <a:cxn ang="0">
                <a:pos x="connsiteX2" y="connsiteY2"/>
              </a:cxn>
              <a:cxn ang="0">
                <a:pos x="connsiteX3" y="connsiteY3"/>
              </a:cxn>
            </a:cxnLst>
            <a:rect l="l" t="t" r="r" b="b"/>
            <a:pathLst>
              <a:path w="10567804" h="4424680">
                <a:moveTo>
                  <a:pt x="5228724" y="0"/>
                </a:moveTo>
                <a:lnTo>
                  <a:pt x="10567804" y="1585816"/>
                </a:lnTo>
                <a:lnTo>
                  <a:pt x="10567804" y="4424680"/>
                </a:lnTo>
                <a:lnTo>
                  <a:pt x="0" y="442468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446233" y="410991"/>
            <a:ext cx="5358561" cy="857769"/>
          </a:xfrm>
        </p:spPr>
        <p:txBody>
          <a:bodyPr/>
          <a:lstStyle>
            <a:lvl1pPr>
              <a:defRPr>
                <a:solidFill>
                  <a:schemeClr val="tx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accent1"/>
                </a:solidFill>
              </a:defRPr>
            </a:lvl1pPr>
          </a:lstStyle>
          <a:p>
            <a:fld id="{8FC57581-DC35-450C-9742-8A665A17D327}"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2170113"/>
            <a:ext cx="5361880" cy="3995737"/>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4" y="1369905"/>
            <a:ext cx="5361880" cy="215478"/>
          </a:xfrm>
        </p:spPr>
        <p:txBody>
          <a:bodyPr>
            <a:normAutofit/>
          </a:bodyPr>
          <a:lstStyle>
            <a:lvl1pPr>
              <a:lnSpc>
                <a:spcPct val="100000"/>
              </a:lnSpc>
              <a:buNone/>
              <a:defRPr sz="1400">
                <a:solidFill>
                  <a:schemeClr val="accent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4325316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mit Bild 02">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3" name="Bildplatzhalter 22">
            <a:extLst>
              <a:ext uri="{FF2B5EF4-FFF2-40B4-BE49-F238E27FC236}">
                <a16:creationId xmlns:a16="http://schemas.microsoft.com/office/drawing/2014/main" id="{900AAD82-15E6-47F9-8A74-FA801B282F98}"/>
              </a:ext>
            </a:extLst>
          </p:cNvPr>
          <p:cNvSpPr>
            <a:spLocks noGrp="1"/>
          </p:cNvSpPr>
          <p:nvPr>
            <p:ph type="pic" sz="quarter" idx="15" hasCustomPrompt="1"/>
          </p:nvPr>
        </p:nvSpPr>
        <p:spPr>
          <a:xfrm>
            <a:off x="6568440" y="0"/>
            <a:ext cx="5623560" cy="6858000"/>
          </a:xfrm>
          <a:custGeom>
            <a:avLst/>
            <a:gdLst>
              <a:gd name="connsiteX0" fmla="*/ 1658820 w 5623560"/>
              <a:gd name="connsiteY0" fmla="*/ 0 h 6858000"/>
              <a:gd name="connsiteX1" fmla="*/ 3457498 w 5623560"/>
              <a:gd name="connsiteY1" fmla="*/ 0 h 6858000"/>
              <a:gd name="connsiteX2" fmla="*/ 5623560 w 5623560"/>
              <a:gd name="connsiteY2" fmla="*/ 3017462 h 6858000"/>
              <a:gd name="connsiteX3" fmla="*/ 5623560 w 5623560"/>
              <a:gd name="connsiteY3" fmla="*/ 6858000 h 6858000"/>
              <a:gd name="connsiteX4" fmla="*/ 3247813 w 5623560"/>
              <a:gd name="connsiteY4" fmla="*/ 6858000 h 6858000"/>
              <a:gd name="connsiteX5" fmla="*/ 0 w 5623560"/>
              <a:gd name="connsiteY5" fmla="*/ 616204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3560" h="6858000">
                <a:moveTo>
                  <a:pt x="1658820" y="0"/>
                </a:moveTo>
                <a:lnTo>
                  <a:pt x="3457498" y="0"/>
                </a:lnTo>
                <a:lnTo>
                  <a:pt x="5623560" y="3017462"/>
                </a:lnTo>
                <a:lnTo>
                  <a:pt x="5623560" y="6858000"/>
                </a:lnTo>
                <a:lnTo>
                  <a:pt x="3247813" y="6858000"/>
                </a:lnTo>
                <a:lnTo>
                  <a:pt x="0" y="616204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446233" y="410991"/>
            <a:ext cx="6006232" cy="857769"/>
          </a:xfrm>
        </p:spPr>
        <p:txBody>
          <a:bodyPr/>
          <a:lstStyle>
            <a:lvl1pPr>
              <a:defRPr>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AD120103-EBD9-41FF-ACA5-5925743728DA}"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2170113"/>
            <a:ext cx="6009952" cy="39957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4" y="1369905"/>
            <a:ext cx="6009952"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22135518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mit Bild 02 hell">
    <p:spTree>
      <p:nvGrpSpPr>
        <p:cNvPr id="1" name=""/>
        <p:cNvGrpSpPr/>
        <p:nvPr/>
      </p:nvGrpSpPr>
      <p:grpSpPr>
        <a:xfrm>
          <a:off x="0" y="0"/>
          <a:ext cx="0" cy="0"/>
          <a:chOff x="0" y="0"/>
          <a:chExt cx="0" cy="0"/>
        </a:xfrm>
      </p:grpSpPr>
      <p:sp>
        <p:nvSpPr>
          <p:cNvPr id="23" name="Bildplatzhalter 22">
            <a:extLst>
              <a:ext uri="{FF2B5EF4-FFF2-40B4-BE49-F238E27FC236}">
                <a16:creationId xmlns:a16="http://schemas.microsoft.com/office/drawing/2014/main" id="{900AAD82-15E6-47F9-8A74-FA801B282F98}"/>
              </a:ext>
            </a:extLst>
          </p:cNvPr>
          <p:cNvSpPr>
            <a:spLocks noGrp="1"/>
          </p:cNvSpPr>
          <p:nvPr>
            <p:ph type="pic" sz="quarter" idx="15" hasCustomPrompt="1"/>
          </p:nvPr>
        </p:nvSpPr>
        <p:spPr>
          <a:xfrm>
            <a:off x="6568440" y="0"/>
            <a:ext cx="5623560" cy="6858000"/>
          </a:xfrm>
          <a:custGeom>
            <a:avLst/>
            <a:gdLst>
              <a:gd name="connsiteX0" fmla="*/ 1658820 w 5623560"/>
              <a:gd name="connsiteY0" fmla="*/ 0 h 6858000"/>
              <a:gd name="connsiteX1" fmla="*/ 3457498 w 5623560"/>
              <a:gd name="connsiteY1" fmla="*/ 0 h 6858000"/>
              <a:gd name="connsiteX2" fmla="*/ 5623560 w 5623560"/>
              <a:gd name="connsiteY2" fmla="*/ 3017462 h 6858000"/>
              <a:gd name="connsiteX3" fmla="*/ 5623560 w 5623560"/>
              <a:gd name="connsiteY3" fmla="*/ 6858000 h 6858000"/>
              <a:gd name="connsiteX4" fmla="*/ 3247813 w 5623560"/>
              <a:gd name="connsiteY4" fmla="*/ 6858000 h 6858000"/>
              <a:gd name="connsiteX5" fmla="*/ 0 w 5623560"/>
              <a:gd name="connsiteY5" fmla="*/ 616204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3560" h="6858000">
                <a:moveTo>
                  <a:pt x="1658820" y="0"/>
                </a:moveTo>
                <a:lnTo>
                  <a:pt x="3457498" y="0"/>
                </a:lnTo>
                <a:lnTo>
                  <a:pt x="5623560" y="3017462"/>
                </a:lnTo>
                <a:lnTo>
                  <a:pt x="5623560" y="6858000"/>
                </a:lnTo>
                <a:lnTo>
                  <a:pt x="3247813" y="6858000"/>
                </a:lnTo>
                <a:lnTo>
                  <a:pt x="0" y="616204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446233" y="410991"/>
            <a:ext cx="6006232" cy="857769"/>
          </a:xfrm>
        </p:spPr>
        <p:txBody>
          <a:bodyPr/>
          <a:lstStyle>
            <a:lvl1pPr>
              <a:defRPr>
                <a:solidFill>
                  <a:schemeClr val="tx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accent1"/>
                </a:solidFill>
              </a:defRPr>
            </a:lvl1pPr>
          </a:lstStyle>
          <a:p>
            <a:fld id="{BC22D99F-7787-457F-AF43-B251CDBF9593}"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2170113"/>
            <a:ext cx="6009952" cy="3995737"/>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4" y="1369905"/>
            <a:ext cx="6009952" cy="215478"/>
          </a:xfrm>
        </p:spPr>
        <p:txBody>
          <a:bodyPr>
            <a:normAutofit/>
          </a:bodyPr>
          <a:lstStyle>
            <a:lvl1pPr>
              <a:lnSpc>
                <a:spcPct val="100000"/>
              </a:lnSpc>
              <a:buNone/>
              <a:defRPr sz="1400">
                <a:solidFill>
                  <a:schemeClr val="accent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37837462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mit Bild 03">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4" name="Bildplatzhalter 23">
            <a:extLst>
              <a:ext uri="{FF2B5EF4-FFF2-40B4-BE49-F238E27FC236}">
                <a16:creationId xmlns:a16="http://schemas.microsoft.com/office/drawing/2014/main" id="{5855FEB5-F998-4326-A874-279E905CB80F}"/>
              </a:ext>
            </a:extLst>
          </p:cNvPr>
          <p:cNvSpPr>
            <a:spLocks noGrp="1"/>
          </p:cNvSpPr>
          <p:nvPr>
            <p:ph type="pic" sz="quarter" idx="15" hasCustomPrompt="1"/>
          </p:nvPr>
        </p:nvSpPr>
        <p:spPr>
          <a:xfrm>
            <a:off x="6785426" y="2"/>
            <a:ext cx="5406575" cy="6857999"/>
          </a:xfrm>
          <a:custGeom>
            <a:avLst/>
            <a:gdLst>
              <a:gd name="connsiteX0" fmla="*/ 2285374 w 5406575"/>
              <a:gd name="connsiteY0" fmla="*/ 0 h 6857999"/>
              <a:gd name="connsiteX1" fmla="*/ 5406575 w 5406575"/>
              <a:gd name="connsiteY1" fmla="*/ 0 h 6857999"/>
              <a:gd name="connsiteX2" fmla="*/ 5406575 w 5406575"/>
              <a:gd name="connsiteY2" fmla="*/ 6857999 h 6857999"/>
              <a:gd name="connsiteX3" fmla="*/ 0 w 5406575"/>
              <a:gd name="connsiteY3" fmla="*/ 6857999 h 6857999"/>
              <a:gd name="connsiteX4" fmla="*/ 1210495 w 5406575"/>
              <a:gd name="connsiteY4" fmla="*/ 3525520 h 6857999"/>
              <a:gd name="connsiteX5" fmla="*/ 16695 w 5406575"/>
              <a:gd name="connsiteY5" fmla="*/ 141732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6575" h="6857999">
                <a:moveTo>
                  <a:pt x="2285374" y="0"/>
                </a:moveTo>
                <a:lnTo>
                  <a:pt x="5406575" y="0"/>
                </a:lnTo>
                <a:lnTo>
                  <a:pt x="5406575" y="6857999"/>
                </a:lnTo>
                <a:lnTo>
                  <a:pt x="0" y="6857999"/>
                </a:lnTo>
                <a:lnTo>
                  <a:pt x="1210495" y="3525520"/>
                </a:lnTo>
                <a:lnTo>
                  <a:pt x="16695" y="141732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446233" y="410991"/>
            <a:ext cx="6006232" cy="857769"/>
          </a:xfrm>
        </p:spPr>
        <p:txBody>
          <a:bodyPr/>
          <a:lstStyle>
            <a:lvl1pPr>
              <a:defRPr>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D9420F44-BF3D-4ACC-8808-7D391B28ADC2}"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2170113"/>
            <a:ext cx="6009952" cy="39957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4" y="1369905"/>
            <a:ext cx="6009952"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8453544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mit Bild 03 hell">
    <p:spTree>
      <p:nvGrpSpPr>
        <p:cNvPr id="1" name=""/>
        <p:cNvGrpSpPr/>
        <p:nvPr/>
      </p:nvGrpSpPr>
      <p:grpSpPr>
        <a:xfrm>
          <a:off x="0" y="0"/>
          <a:ext cx="0" cy="0"/>
          <a:chOff x="0" y="0"/>
          <a:chExt cx="0" cy="0"/>
        </a:xfrm>
      </p:grpSpPr>
      <p:sp>
        <p:nvSpPr>
          <p:cNvPr id="24" name="Bildplatzhalter 23">
            <a:extLst>
              <a:ext uri="{FF2B5EF4-FFF2-40B4-BE49-F238E27FC236}">
                <a16:creationId xmlns:a16="http://schemas.microsoft.com/office/drawing/2014/main" id="{5855FEB5-F998-4326-A874-279E905CB80F}"/>
              </a:ext>
            </a:extLst>
          </p:cNvPr>
          <p:cNvSpPr>
            <a:spLocks noGrp="1"/>
          </p:cNvSpPr>
          <p:nvPr>
            <p:ph type="pic" sz="quarter" idx="15" hasCustomPrompt="1"/>
          </p:nvPr>
        </p:nvSpPr>
        <p:spPr>
          <a:xfrm>
            <a:off x="6785426" y="2"/>
            <a:ext cx="5406575" cy="6857999"/>
          </a:xfrm>
          <a:custGeom>
            <a:avLst/>
            <a:gdLst>
              <a:gd name="connsiteX0" fmla="*/ 2285374 w 5406575"/>
              <a:gd name="connsiteY0" fmla="*/ 0 h 6857999"/>
              <a:gd name="connsiteX1" fmla="*/ 5406575 w 5406575"/>
              <a:gd name="connsiteY1" fmla="*/ 0 h 6857999"/>
              <a:gd name="connsiteX2" fmla="*/ 5406575 w 5406575"/>
              <a:gd name="connsiteY2" fmla="*/ 6857999 h 6857999"/>
              <a:gd name="connsiteX3" fmla="*/ 0 w 5406575"/>
              <a:gd name="connsiteY3" fmla="*/ 6857999 h 6857999"/>
              <a:gd name="connsiteX4" fmla="*/ 1210495 w 5406575"/>
              <a:gd name="connsiteY4" fmla="*/ 3525520 h 6857999"/>
              <a:gd name="connsiteX5" fmla="*/ 16695 w 5406575"/>
              <a:gd name="connsiteY5" fmla="*/ 141732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6575" h="6857999">
                <a:moveTo>
                  <a:pt x="2285374" y="0"/>
                </a:moveTo>
                <a:lnTo>
                  <a:pt x="5406575" y="0"/>
                </a:lnTo>
                <a:lnTo>
                  <a:pt x="5406575" y="6857999"/>
                </a:lnTo>
                <a:lnTo>
                  <a:pt x="0" y="6857999"/>
                </a:lnTo>
                <a:lnTo>
                  <a:pt x="1210495" y="3525520"/>
                </a:lnTo>
                <a:lnTo>
                  <a:pt x="16695" y="141732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446233" y="410991"/>
            <a:ext cx="6006232" cy="857769"/>
          </a:xfrm>
        </p:spPr>
        <p:txBody>
          <a:bodyPr/>
          <a:lstStyle>
            <a:lvl1pPr>
              <a:defRPr>
                <a:solidFill>
                  <a:schemeClr val="tx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accent1"/>
                </a:solidFill>
              </a:defRPr>
            </a:lvl1pPr>
          </a:lstStyle>
          <a:p>
            <a:fld id="{15C50404-6D4B-4B5E-8113-BE2AFF79C83C}"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2170113"/>
            <a:ext cx="6009952" cy="3995737"/>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4" y="1369905"/>
            <a:ext cx="6009952" cy="215478"/>
          </a:xfrm>
        </p:spPr>
        <p:txBody>
          <a:bodyPr>
            <a:normAutofit/>
          </a:bodyPr>
          <a:lstStyle>
            <a:lvl1pPr>
              <a:lnSpc>
                <a:spcPct val="100000"/>
              </a:lnSpc>
              <a:buNone/>
              <a:defRPr sz="1400">
                <a:solidFill>
                  <a:schemeClr val="accent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9624130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mit Bild 04">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3" name="Bildplatzhalter 22">
            <a:extLst>
              <a:ext uri="{FF2B5EF4-FFF2-40B4-BE49-F238E27FC236}">
                <a16:creationId xmlns:a16="http://schemas.microsoft.com/office/drawing/2014/main" id="{6E1188D4-A21B-419B-9444-C0E417AA8772}"/>
              </a:ext>
            </a:extLst>
          </p:cNvPr>
          <p:cNvSpPr>
            <a:spLocks noGrp="1"/>
          </p:cNvSpPr>
          <p:nvPr>
            <p:ph type="pic" sz="quarter" idx="15" hasCustomPrompt="1"/>
          </p:nvPr>
        </p:nvSpPr>
        <p:spPr>
          <a:xfrm>
            <a:off x="0" y="0"/>
            <a:ext cx="5775960" cy="6858000"/>
          </a:xfrm>
          <a:custGeom>
            <a:avLst/>
            <a:gdLst>
              <a:gd name="connsiteX0" fmla="*/ 0 w 5775960"/>
              <a:gd name="connsiteY0" fmla="*/ 0 h 6858000"/>
              <a:gd name="connsiteX1" fmla="*/ 1114649 w 5775960"/>
              <a:gd name="connsiteY1" fmla="*/ 0 h 6858000"/>
              <a:gd name="connsiteX2" fmla="*/ 5775960 w 5775960"/>
              <a:gd name="connsiteY2" fmla="*/ 2910840 h 6858000"/>
              <a:gd name="connsiteX3" fmla="*/ 1400356 w 5775960"/>
              <a:gd name="connsiteY3" fmla="*/ 6858000 h 6858000"/>
              <a:gd name="connsiteX4" fmla="*/ 0 w 577596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5960" h="6858000">
                <a:moveTo>
                  <a:pt x="0" y="0"/>
                </a:moveTo>
                <a:lnTo>
                  <a:pt x="1114649" y="0"/>
                </a:lnTo>
                <a:lnTo>
                  <a:pt x="5775960" y="2910840"/>
                </a:lnTo>
                <a:lnTo>
                  <a:pt x="1400356" y="6858000"/>
                </a:lnTo>
                <a:lnTo>
                  <a:pt x="0" y="685800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6096000" y="410991"/>
            <a:ext cx="5653088" cy="857769"/>
          </a:xfrm>
        </p:spPr>
        <p:txBody>
          <a:bodyPr/>
          <a:lstStyle>
            <a:lvl1pPr>
              <a:defRPr>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E0D2A708-F16F-4696-873B-7629C6ED4D43}"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6096000" y="2170113"/>
            <a:ext cx="5653088" cy="39957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6096000" y="1369905"/>
            <a:ext cx="5653088"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1809624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mit Partner">
    <p:spTree>
      <p:nvGrpSpPr>
        <p:cNvPr id="1" name=""/>
        <p:cNvGrpSpPr/>
        <p:nvPr/>
      </p:nvGrpSpPr>
      <p:grpSpPr>
        <a:xfrm>
          <a:off x="0" y="0"/>
          <a:ext cx="0" cy="0"/>
          <a:chOff x="0" y="0"/>
          <a:chExt cx="0" cy="0"/>
        </a:xfrm>
      </p:grpSpPr>
      <p:grpSp>
        <p:nvGrpSpPr>
          <p:cNvPr id="15" name="Gruppieren 14">
            <a:extLst>
              <a:ext uri="{FF2B5EF4-FFF2-40B4-BE49-F238E27FC236}">
                <a16:creationId xmlns:a16="http://schemas.microsoft.com/office/drawing/2014/main" id="{259F07D8-8C01-49F5-B4B3-955F5217A864}"/>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5133030A-6ED6-40F8-BEC8-1F1A35D0FA81}"/>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2" name="Rechteck 11">
              <a:extLst>
                <a:ext uri="{FF2B5EF4-FFF2-40B4-BE49-F238E27FC236}">
                  <a16:creationId xmlns:a16="http://schemas.microsoft.com/office/drawing/2014/main" id="{01A9A534-E323-4B0D-A957-1257F353D109}"/>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8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7" name="Titel 6">
            <a:extLst>
              <a:ext uri="{FF2B5EF4-FFF2-40B4-BE49-F238E27FC236}">
                <a16:creationId xmlns:a16="http://schemas.microsoft.com/office/drawing/2014/main" id="{24B92995-E18B-4227-B0DD-BFDDD3F61A1F}"/>
              </a:ext>
            </a:extLst>
          </p:cNvPr>
          <p:cNvSpPr>
            <a:spLocks noGrp="1"/>
          </p:cNvSpPr>
          <p:nvPr>
            <p:ph type="title"/>
          </p:nvPr>
        </p:nvSpPr>
        <p:spPr>
          <a:xfrm>
            <a:off x="632918" y="3883628"/>
            <a:ext cx="9178159" cy="1289817"/>
          </a:xfrm>
        </p:spPr>
        <p:txBody>
          <a:bodyPr anchor="b"/>
          <a:lstStyle>
            <a:lvl1pPr>
              <a:lnSpc>
                <a:spcPts val="5000"/>
              </a:lnSpc>
              <a:defRPr sz="4600">
                <a:solidFill>
                  <a:schemeClr val="bg1"/>
                </a:solidFill>
              </a:defRPr>
            </a:lvl1pPr>
          </a:lstStyle>
          <a:p>
            <a:r>
              <a:rPr lang="es-ES"/>
              <a:t>Haga clic para modificar el estilo de título del patrón</a:t>
            </a:r>
            <a:endParaRPr lang="de-DE"/>
          </a:p>
        </p:txBody>
      </p:sp>
      <p:sp>
        <p:nvSpPr>
          <p:cNvPr id="9" name="Textplatzhalter 8">
            <a:extLst>
              <a:ext uri="{FF2B5EF4-FFF2-40B4-BE49-F238E27FC236}">
                <a16:creationId xmlns:a16="http://schemas.microsoft.com/office/drawing/2014/main" id="{3FFEAEA6-7D21-450F-9C48-044D9B75A497}"/>
              </a:ext>
            </a:extLst>
          </p:cNvPr>
          <p:cNvSpPr>
            <a:spLocks noGrp="1"/>
          </p:cNvSpPr>
          <p:nvPr>
            <p:ph type="body" sz="quarter" idx="10"/>
          </p:nvPr>
        </p:nvSpPr>
        <p:spPr>
          <a:xfrm>
            <a:off x="632917" y="5480040"/>
            <a:ext cx="9178159" cy="288055"/>
          </a:xfrm>
        </p:spPr>
        <p:txBody>
          <a:bodyPr/>
          <a:lstStyle>
            <a:lvl1pPr>
              <a:buNone/>
              <a:defRPr>
                <a:solidFill>
                  <a:schemeClr val="bg1"/>
                </a:solidFill>
                <a:latin typeface="Source Sans Pro Semibold" panose="020B0603030403020204" pitchFamily="34" charset="0"/>
              </a:defRPr>
            </a:lvl1pPr>
          </a:lstStyle>
          <a:p>
            <a:pPr lvl="0"/>
            <a:r>
              <a:rPr lang="es-ES"/>
              <a:t>Haga clic para modificar los estilos de texto del patrón</a:t>
            </a:r>
          </a:p>
        </p:txBody>
      </p:sp>
      <p:sp>
        <p:nvSpPr>
          <p:cNvPr id="2" name="Rechteck 1">
            <a:extLst>
              <a:ext uri="{FF2B5EF4-FFF2-40B4-BE49-F238E27FC236}">
                <a16:creationId xmlns:a16="http://schemas.microsoft.com/office/drawing/2014/main" id="{1981B964-3630-4869-A395-21CAA8C5A13A}"/>
              </a:ext>
            </a:extLst>
          </p:cNvPr>
          <p:cNvSpPr/>
          <p:nvPr userDrawn="1"/>
        </p:nvSpPr>
        <p:spPr>
          <a:xfrm>
            <a:off x="0" y="5870425"/>
            <a:ext cx="12192000" cy="9875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pic>
        <p:nvPicPr>
          <p:cNvPr id="3" name="Grafik 4">
            <a:extLst>
              <a:ext uri="{FF2B5EF4-FFF2-40B4-BE49-F238E27FC236}">
                <a16:creationId xmlns:a16="http://schemas.microsoft.com/office/drawing/2014/main" id="{BCB1ED78-C53F-6C8B-8BFF-A9EA1CCA5BBE}"/>
              </a:ext>
            </a:extLst>
          </p:cNvPr>
          <p:cNvPicPr>
            <a:picLocks noChangeAspect="1"/>
          </p:cNvPicPr>
          <p:nvPr userDrawn="1"/>
        </p:nvPicPr>
        <p:blipFill>
          <a:blip r:embed="rId2"/>
          <a:stretch>
            <a:fillRect/>
          </a:stretch>
        </p:blipFill>
        <p:spPr>
          <a:xfrm>
            <a:off x="5047342" y="6120216"/>
            <a:ext cx="2160513" cy="487992"/>
          </a:xfrm>
          <a:prstGeom prst="rect">
            <a:avLst/>
          </a:prstGeom>
        </p:spPr>
      </p:pic>
      <p:pic>
        <p:nvPicPr>
          <p:cNvPr id="4" name="Grafik 7">
            <a:extLst>
              <a:ext uri="{FF2B5EF4-FFF2-40B4-BE49-F238E27FC236}">
                <a16:creationId xmlns:a16="http://schemas.microsoft.com/office/drawing/2014/main" id="{7F1D655E-D1F2-F550-D3FC-6BED5E8722F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08168" y="6144878"/>
            <a:ext cx="1687919" cy="438668"/>
          </a:xfrm>
          <a:prstGeom prst="rect">
            <a:avLst/>
          </a:prstGeom>
        </p:spPr>
      </p:pic>
      <p:pic>
        <p:nvPicPr>
          <p:cNvPr id="5" name="Grafik 11">
            <a:extLst>
              <a:ext uri="{FF2B5EF4-FFF2-40B4-BE49-F238E27FC236}">
                <a16:creationId xmlns:a16="http://schemas.microsoft.com/office/drawing/2014/main" id="{CA18E78A-163E-2F64-A99B-BA2A41456F2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696400" y="5949198"/>
            <a:ext cx="2304256" cy="830028"/>
          </a:xfrm>
          <a:prstGeom prst="rect">
            <a:avLst/>
          </a:prstGeom>
        </p:spPr>
      </p:pic>
      <p:pic>
        <p:nvPicPr>
          <p:cNvPr id="10" name="Picture 9" descr="A map of the world with dots and lines&#10;&#10;Description automatically generated">
            <a:extLst>
              <a:ext uri="{FF2B5EF4-FFF2-40B4-BE49-F238E27FC236}">
                <a16:creationId xmlns:a16="http://schemas.microsoft.com/office/drawing/2014/main" id="{28DC8491-3C64-6108-A414-1D204235E85F}"/>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248128" y="129136"/>
            <a:ext cx="4711282" cy="2845236"/>
          </a:xfrm>
          <a:prstGeom prst="rect">
            <a:avLst/>
          </a:prstGeom>
        </p:spPr>
      </p:pic>
    </p:spTree>
    <p:extLst>
      <p:ext uri="{BB962C8B-B14F-4D97-AF65-F5344CB8AC3E}">
        <p14:creationId xmlns:p14="http://schemas.microsoft.com/office/powerpoint/2010/main" val="35303508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mit Bild 04 hell">
    <p:spTree>
      <p:nvGrpSpPr>
        <p:cNvPr id="1" name=""/>
        <p:cNvGrpSpPr/>
        <p:nvPr/>
      </p:nvGrpSpPr>
      <p:grpSpPr>
        <a:xfrm>
          <a:off x="0" y="0"/>
          <a:ext cx="0" cy="0"/>
          <a:chOff x="0" y="0"/>
          <a:chExt cx="0" cy="0"/>
        </a:xfrm>
      </p:grpSpPr>
      <p:sp>
        <p:nvSpPr>
          <p:cNvPr id="23" name="Bildplatzhalter 22">
            <a:extLst>
              <a:ext uri="{FF2B5EF4-FFF2-40B4-BE49-F238E27FC236}">
                <a16:creationId xmlns:a16="http://schemas.microsoft.com/office/drawing/2014/main" id="{6E1188D4-A21B-419B-9444-C0E417AA8772}"/>
              </a:ext>
            </a:extLst>
          </p:cNvPr>
          <p:cNvSpPr>
            <a:spLocks noGrp="1"/>
          </p:cNvSpPr>
          <p:nvPr>
            <p:ph type="pic" sz="quarter" idx="15" hasCustomPrompt="1"/>
          </p:nvPr>
        </p:nvSpPr>
        <p:spPr>
          <a:xfrm>
            <a:off x="0" y="0"/>
            <a:ext cx="5775960" cy="6858000"/>
          </a:xfrm>
          <a:custGeom>
            <a:avLst/>
            <a:gdLst>
              <a:gd name="connsiteX0" fmla="*/ 0 w 5775960"/>
              <a:gd name="connsiteY0" fmla="*/ 0 h 6858000"/>
              <a:gd name="connsiteX1" fmla="*/ 1114649 w 5775960"/>
              <a:gd name="connsiteY1" fmla="*/ 0 h 6858000"/>
              <a:gd name="connsiteX2" fmla="*/ 5775960 w 5775960"/>
              <a:gd name="connsiteY2" fmla="*/ 2910840 h 6858000"/>
              <a:gd name="connsiteX3" fmla="*/ 1400356 w 5775960"/>
              <a:gd name="connsiteY3" fmla="*/ 6858000 h 6858000"/>
              <a:gd name="connsiteX4" fmla="*/ 0 w 577596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5960" h="6858000">
                <a:moveTo>
                  <a:pt x="0" y="0"/>
                </a:moveTo>
                <a:lnTo>
                  <a:pt x="1114649" y="0"/>
                </a:lnTo>
                <a:lnTo>
                  <a:pt x="5775960" y="2910840"/>
                </a:lnTo>
                <a:lnTo>
                  <a:pt x="1400356" y="6858000"/>
                </a:lnTo>
                <a:lnTo>
                  <a:pt x="0" y="685800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6096000" y="410991"/>
            <a:ext cx="5653088" cy="857769"/>
          </a:xfrm>
        </p:spPr>
        <p:txBody>
          <a:bodyPr/>
          <a:lstStyle>
            <a:lvl1pPr>
              <a:defRPr>
                <a:solidFill>
                  <a:schemeClr val="tx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accent1"/>
                </a:solidFill>
              </a:defRPr>
            </a:lvl1pPr>
          </a:lstStyle>
          <a:p>
            <a:fld id="{35AD3FDC-9949-4C94-B17D-2CAD8A5CE4EB}"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6096000" y="2170113"/>
            <a:ext cx="5653088" cy="3995737"/>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6096000" y="1369905"/>
            <a:ext cx="5653088" cy="215478"/>
          </a:xfrm>
        </p:spPr>
        <p:txBody>
          <a:bodyPr>
            <a:normAutofit/>
          </a:bodyPr>
          <a:lstStyle>
            <a:lvl1pPr>
              <a:lnSpc>
                <a:spcPct val="100000"/>
              </a:lnSpc>
              <a:buNone/>
              <a:defRPr sz="1400">
                <a:solidFill>
                  <a:schemeClr val="accent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527910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mit Bild 05">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4" name="Bildplatzhalter 23">
            <a:extLst>
              <a:ext uri="{FF2B5EF4-FFF2-40B4-BE49-F238E27FC236}">
                <a16:creationId xmlns:a16="http://schemas.microsoft.com/office/drawing/2014/main" id="{50E6B728-7ADB-4DD4-929B-AE3F8973B68E}"/>
              </a:ext>
            </a:extLst>
          </p:cNvPr>
          <p:cNvSpPr>
            <a:spLocks noGrp="1"/>
          </p:cNvSpPr>
          <p:nvPr>
            <p:ph type="pic" sz="quarter" idx="15" hasCustomPrompt="1"/>
          </p:nvPr>
        </p:nvSpPr>
        <p:spPr>
          <a:xfrm>
            <a:off x="0" y="0"/>
            <a:ext cx="5603240" cy="6858000"/>
          </a:xfrm>
          <a:custGeom>
            <a:avLst/>
            <a:gdLst>
              <a:gd name="connsiteX0" fmla="*/ 0 w 5603240"/>
              <a:gd name="connsiteY0" fmla="*/ 0 h 6858000"/>
              <a:gd name="connsiteX1" fmla="*/ 3448710 w 5603240"/>
              <a:gd name="connsiteY1" fmla="*/ 0 h 6858000"/>
              <a:gd name="connsiteX2" fmla="*/ 5603240 w 5603240"/>
              <a:gd name="connsiteY2" fmla="*/ 1402080 h 6858000"/>
              <a:gd name="connsiteX3" fmla="*/ 3007360 w 5603240"/>
              <a:gd name="connsiteY3" fmla="*/ 4485640 h 6858000"/>
              <a:gd name="connsiteX4" fmla="*/ 5539706 w 5603240"/>
              <a:gd name="connsiteY4" fmla="*/ 6858000 h 6858000"/>
              <a:gd name="connsiteX5" fmla="*/ 0 w 560324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03240" h="6858000">
                <a:moveTo>
                  <a:pt x="0" y="0"/>
                </a:moveTo>
                <a:lnTo>
                  <a:pt x="3448710" y="0"/>
                </a:lnTo>
                <a:lnTo>
                  <a:pt x="5603240" y="1402080"/>
                </a:lnTo>
                <a:lnTo>
                  <a:pt x="3007360" y="4485640"/>
                </a:lnTo>
                <a:lnTo>
                  <a:pt x="5539706" y="6858000"/>
                </a:lnTo>
                <a:lnTo>
                  <a:pt x="0" y="685800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6096000" y="410991"/>
            <a:ext cx="5653088" cy="857769"/>
          </a:xfrm>
        </p:spPr>
        <p:txBody>
          <a:bodyPr/>
          <a:lstStyle>
            <a:lvl1pPr>
              <a:defRPr>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2B2357A1-0969-431E-AC69-B95920E0AC64}"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6096000" y="2170113"/>
            <a:ext cx="5653088" cy="39957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6096000" y="1369905"/>
            <a:ext cx="5653088"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1733436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mit Bild 05 hell">
    <p:spTree>
      <p:nvGrpSpPr>
        <p:cNvPr id="1" name=""/>
        <p:cNvGrpSpPr/>
        <p:nvPr/>
      </p:nvGrpSpPr>
      <p:grpSpPr>
        <a:xfrm>
          <a:off x="0" y="0"/>
          <a:ext cx="0" cy="0"/>
          <a:chOff x="0" y="0"/>
          <a:chExt cx="0" cy="0"/>
        </a:xfrm>
      </p:grpSpPr>
      <p:sp>
        <p:nvSpPr>
          <p:cNvPr id="24" name="Bildplatzhalter 23">
            <a:extLst>
              <a:ext uri="{FF2B5EF4-FFF2-40B4-BE49-F238E27FC236}">
                <a16:creationId xmlns:a16="http://schemas.microsoft.com/office/drawing/2014/main" id="{50E6B728-7ADB-4DD4-929B-AE3F8973B68E}"/>
              </a:ext>
            </a:extLst>
          </p:cNvPr>
          <p:cNvSpPr>
            <a:spLocks noGrp="1"/>
          </p:cNvSpPr>
          <p:nvPr>
            <p:ph type="pic" sz="quarter" idx="15" hasCustomPrompt="1"/>
          </p:nvPr>
        </p:nvSpPr>
        <p:spPr>
          <a:xfrm>
            <a:off x="0" y="0"/>
            <a:ext cx="5603240" cy="6858000"/>
          </a:xfrm>
          <a:custGeom>
            <a:avLst/>
            <a:gdLst>
              <a:gd name="connsiteX0" fmla="*/ 0 w 5603240"/>
              <a:gd name="connsiteY0" fmla="*/ 0 h 6858000"/>
              <a:gd name="connsiteX1" fmla="*/ 3448710 w 5603240"/>
              <a:gd name="connsiteY1" fmla="*/ 0 h 6858000"/>
              <a:gd name="connsiteX2" fmla="*/ 5603240 w 5603240"/>
              <a:gd name="connsiteY2" fmla="*/ 1402080 h 6858000"/>
              <a:gd name="connsiteX3" fmla="*/ 3007360 w 5603240"/>
              <a:gd name="connsiteY3" fmla="*/ 4485640 h 6858000"/>
              <a:gd name="connsiteX4" fmla="*/ 5539706 w 5603240"/>
              <a:gd name="connsiteY4" fmla="*/ 6858000 h 6858000"/>
              <a:gd name="connsiteX5" fmla="*/ 0 w 560324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03240" h="6858000">
                <a:moveTo>
                  <a:pt x="0" y="0"/>
                </a:moveTo>
                <a:lnTo>
                  <a:pt x="3448710" y="0"/>
                </a:lnTo>
                <a:lnTo>
                  <a:pt x="5603240" y="1402080"/>
                </a:lnTo>
                <a:lnTo>
                  <a:pt x="3007360" y="4485640"/>
                </a:lnTo>
                <a:lnTo>
                  <a:pt x="5539706" y="6858000"/>
                </a:lnTo>
                <a:lnTo>
                  <a:pt x="0" y="685800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a:xfrm>
            <a:off x="6096000" y="410991"/>
            <a:ext cx="5653088" cy="857769"/>
          </a:xfrm>
        </p:spPr>
        <p:txBody>
          <a:bodyPr/>
          <a:lstStyle>
            <a:lvl1pPr>
              <a:defRPr>
                <a:solidFill>
                  <a:schemeClr val="tx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accent1"/>
                </a:solidFill>
              </a:defRPr>
            </a:lvl1pPr>
          </a:lstStyle>
          <a:p>
            <a:fld id="{27A669F4-D87D-4F92-A3D0-2D1AA735D43F}" type="datetime1">
              <a:rPr lang="de-DE" smtClean="0"/>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accent1"/>
                </a:solidFill>
              </a:defRPr>
            </a:lvl1pPr>
          </a:lstStyle>
          <a:p>
            <a:r>
              <a:rPr lang="de-DE">
                <a:solidFill>
                  <a:schemeClr val="accent1"/>
                </a:solidFill>
              </a:rPr>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6096000" y="2170113"/>
            <a:ext cx="5653088" cy="3995737"/>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6096000" y="1369905"/>
            <a:ext cx="5653088" cy="215478"/>
          </a:xfrm>
        </p:spPr>
        <p:txBody>
          <a:bodyPr>
            <a:normAutofit/>
          </a:bodyPr>
          <a:lstStyle>
            <a:lvl1pPr>
              <a:lnSpc>
                <a:spcPct val="100000"/>
              </a:lnSpc>
              <a:buNone/>
              <a:defRPr sz="1400">
                <a:solidFill>
                  <a:schemeClr val="accent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37450100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p:txBody>
          <a:bodyPr/>
          <a:lstStyle>
            <a:lvl1pPr>
              <a:defRPr>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E0256546-C0B0-4428-B483-91337463F1A6}"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3" y="1369905"/>
            <a:ext cx="9178925"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7411293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er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p:txBody>
          <a:bodyPr/>
          <a:lstStyle>
            <a:lvl1pPr>
              <a:defRPr>
                <a:solidFill>
                  <a:schemeClr val="tx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accent1"/>
                </a:solidFill>
              </a:defRPr>
            </a:lvl1pPr>
          </a:lstStyle>
          <a:p>
            <a:fld id="{026F0EFC-0C75-4CEE-AC70-E83ABA9172FA}"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3" y="1369905"/>
            <a:ext cx="9178925" cy="215478"/>
          </a:xfrm>
        </p:spPr>
        <p:txBody>
          <a:bodyPr>
            <a:normAutofit/>
          </a:bodyPr>
          <a:lstStyle>
            <a:lvl1pPr>
              <a:lnSpc>
                <a:spcPct val="100000"/>
              </a:lnSpc>
              <a:buNone/>
              <a:defRPr sz="1400">
                <a:solidFill>
                  <a:schemeClr val="accent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28211183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pSp>
        <p:nvGrpSpPr>
          <p:cNvPr id="6" name="Gruppieren 5">
            <a:extLst>
              <a:ext uri="{FF2B5EF4-FFF2-40B4-BE49-F238E27FC236}">
                <a16:creationId xmlns:a16="http://schemas.microsoft.com/office/drawing/2014/main" id="{62391DBC-27F9-4FF1-A6E8-21DE146EF0F2}"/>
              </a:ext>
            </a:extLst>
          </p:cNvPr>
          <p:cNvGrpSpPr/>
          <p:nvPr userDrawn="1"/>
        </p:nvGrpSpPr>
        <p:grpSpPr>
          <a:xfrm>
            <a:off x="0" y="0"/>
            <a:ext cx="12192000" cy="6858000"/>
            <a:chOff x="0" y="0"/>
            <a:chExt cx="12192000" cy="6858000"/>
          </a:xfrm>
        </p:grpSpPr>
        <p:sp>
          <p:nvSpPr>
            <p:cNvPr id="7" name="Rechteck 6">
              <a:extLst>
                <a:ext uri="{FF2B5EF4-FFF2-40B4-BE49-F238E27FC236}">
                  <a16:creationId xmlns:a16="http://schemas.microsoft.com/office/drawing/2014/main" id="{218AD243-A0F8-43D2-B39E-003CFD96D9A6}"/>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8" name="Rechteck 7">
              <a:extLst>
                <a:ext uri="{FF2B5EF4-FFF2-40B4-BE49-F238E27FC236}">
                  <a16:creationId xmlns:a16="http://schemas.microsoft.com/office/drawing/2014/main" id="{E4CAC905-EA78-414D-9194-FF4DBED173F8}"/>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 name="Titel 1">
            <a:extLst>
              <a:ext uri="{FF2B5EF4-FFF2-40B4-BE49-F238E27FC236}">
                <a16:creationId xmlns:a16="http://schemas.microsoft.com/office/drawing/2014/main" id="{FE8D5459-0875-40B2-949E-E6738B4F832A}"/>
              </a:ext>
            </a:extLst>
          </p:cNvPr>
          <p:cNvSpPr>
            <a:spLocks noGrp="1"/>
          </p:cNvSpPr>
          <p:nvPr>
            <p:ph type="title"/>
          </p:nvPr>
        </p:nvSpPr>
        <p:spPr>
          <a:xfrm>
            <a:off x="954854" y="661971"/>
            <a:ext cx="5976664" cy="3960440"/>
          </a:xfrm>
        </p:spPr>
        <p:txBody>
          <a:bodyPr anchor="b"/>
          <a:lstStyle>
            <a:lvl1pPr>
              <a:lnSpc>
                <a:spcPts val="5200"/>
              </a:lnSpc>
              <a:defRPr sz="4800">
                <a:solidFill>
                  <a:schemeClr val="bg1"/>
                </a:solidFill>
              </a:defRPr>
            </a:lvl1pPr>
          </a:lstStyle>
          <a:p>
            <a:r>
              <a:rPr lang="es-ES"/>
              <a:t>Haga clic para modificar el estilo de título del patrón</a:t>
            </a:r>
            <a:endParaRPr lang="de-DE"/>
          </a:p>
        </p:txBody>
      </p:sp>
      <p:sp>
        <p:nvSpPr>
          <p:cNvPr id="12" name="Textplatzhalter 11">
            <a:extLst>
              <a:ext uri="{FF2B5EF4-FFF2-40B4-BE49-F238E27FC236}">
                <a16:creationId xmlns:a16="http://schemas.microsoft.com/office/drawing/2014/main" id="{D7975C9F-4F47-4780-A174-0B30594E3ECA}"/>
              </a:ext>
            </a:extLst>
          </p:cNvPr>
          <p:cNvSpPr>
            <a:spLocks noGrp="1"/>
          </p:cNvSpPr>
          <p:nvPr>
            <p:ph type="body" sz="quarter" idx="13"/>
          </p:nvPr>
        </p:nvSpPr>
        <p:spPr>
          <a:xfrm>
            <a:off x="954854" y="5048249"/>
            <a:ext cx="5357169" cy="612775"/>
          </a:xfrm>
        </p:spPr>
        <p:txBody>
          <a:bodyPr/>
          <a:lstStyle>
            <a:lvl1pPr>
              <a:buNone/>
              <a:defRPr>
                <a:solidFill>
                  <a:schemeClr val="bg1"/>
                </a:solidFill>
              </a:defRPr>
            </a:lvl1pPr>
            <a:lvl2pPr>
              <a:buNone/>
              <a:defRPr/>
            </a:lvl2pPr>
          </a:lstStyle>
          <a:p>
            <a:pPr lvl="0"/>
            <a:r>
              <a:rPr lang="es-ES"/>
              <a:t>Haga clic para modificar los estilos de texto del patrón</a:t>
            </a:r>
          </a:p>
        </p:txBody>
      </p:sp>
      <p:sp>
        <p:nvSpPr>
          <p:cNvPr id="14" name="Grafik 12">
            <a:extLst>
              <a:ext uri="{FF2B5EF4-FFF2-40B4-BE49-F238E27FC236}">
                <a16:creationId xmlns:a16="http://schemas.microsoft.com/office/drawing/2014/main" id="{F8E6612D-C11E-4DA5-ABF4-CD50407A5F0E}"/>
              </a:ext>
            </a:extLst>
          </p:cNvPr>
          <p:cNvSpPr/>
          <p:nvPr/>
        </p:nvSpPr>
        <p:spPr>
          <a:xfrm>
            <a:off x="394667" y="553444"/>
            <a:ext cx="792088" cy="720955"/>
          </a:xfrm>
          <a:custGeom>
            <a:avLst/>
            <a:gdLst>
              <a:gd name="connsiteX0" fmla="*/ 4890105 w 7535237"/>
              <a:gd name="connsiteY0" fmla="*/ 6858535 h 6858535"/>
              <a:gd name="connsiteX1" fmla="*/ 7535238 w 7535237"/>
              <a:gd name="connsiteY1" fmla="*/ 2060611 h 6858535"/>
              <a:gd name="connsiteX2" fmla="*/ 6151196 w 7535237"/>
              <a:gd name="connsiteY2" fmla="*/ 0 h 6858535"/>
              <a:gd name="connsiteX3" fmla="*/ 4951648 w 7535237"/>
              <a:gd name="connsiteY3" fmla="*/ 1230186 h 6858535"/>
              <a:gd name="connsiteX4" fmla="*/ 6151196 w 7535237"/>
              <a:gd name="connsiteY4" fmla="*/ 2368057 h 6858535"/>
              <a:gd name="connsiteX5" fmla="*/ 6397233 w 7535237"/>
              <a:gd name="connsiteY5" fmla="*/ 2337286 h 6858535"/>
              <a:gd name="connsiteX6" fmla="*/ 4336488 w 7535237"/>
              <a:gd name="connsiteY6" fmla="*/ 6151062 h 6858535"/>
              <a:gd name="connsiteX7" fmla="*/ 4890105 w 7535237"/>
              <a:gd name="connsiteY7" fmla="*/ 6858535 h 6858535"/>
              <a:gd name="connsiteX8" fmla="*/ 553617 w 7535237"/>
              <a:gd name="connsiteY8" fmla="*/ 6858535 h 6858535"/>
              <a:gd name="connsiteX9" fmla="*/ 3198616 w 7535237"/>
              <a:gd name="connsiteY9" fmla="*/ 2060611 h 6858535"/>
              <a:gd name="connsiteX10" fmla="*/ 1814574 w 7535237"/>
              <a:gd name="connsiteY10" fmla="*/ 0 h 6858535"/>
              <a:gd name="connsiteX11" fmla="*/ 615160 w 7535237"/>
              <a:gd name="connsiteY11" fmla="*/ 1230186 h 6858535"/>
              <a:gd name="connsiteX12" fmla="*/ 1814574 w 7535237"/>
              <a:gd name="connsiteY12" fmla="*/ 2368057 h 6858535"/>
              <a:gd name="connsiteX13" fmla="*/ 2060745 w 7535237"/>
              <a:gd name="connsiteY13" fmla="*/ 2337286 h 6858535"/>
              <a:gd name="connsiteX14" fmla="*/ 0 w 7535237"/>
              <a:gd name="connsiteY14" fmla="*/ 6151196 h 6858535"/>
              <a:gd name="connsiteX15" fmla="*/ 553617 w 7535237"/>
              <a:gd name="connsiteY15" fmla="*/ 6858535 h 685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35237" h="6858535">
                <a:moveTo>
                  <a:pt x="4890105" y="6858535"/>
                </a:moveTo>
                <a:cubicBezTo>
                  <a:pt x="6551090" y="5782073"/>
                  <a:pt x="7535238" y="4244307"/>
                  <a:pt x="7535238" y="2060611"/>
                </a:cubicBezTo>
                <a:cubicBezTo>
                  <a:pt x="7535238" y="738111"/>
                  <a:pt x="6981621" y="0"/>
                  <a:pt x="6151196" y="0"/>
                </a:cubicBezTo>
                <a:cubicBezTo>
                  <a:pt x="5443856" y="0"/>
                  <a:pt x="4951648" y="461303"/>
                  <a:pt x="4951648" y="1230186"/>
                </a:cubicBezTo>
                <a:cubicBezTo>
                  <a:pt x="4951648" y="1999068"/>
                  <a:pt x="5566807" y="2368057"/>
                  <a:pt x="6151196" y="2368057"/>
                </a:cubicBezTo>
                <a:cubicBezTo>
                  <a:pt x="6243510" y="2368057"/>
                  <a:pt x="6335824" y="2368057"/>
                  <a:pt x="6397233" y="2337286"/>
                </a:cubicBezTo>
                <a:cubicBezTo>
                  <a:pt x="6397233" y="4090450"/>
                  <a:pt x="5689893" y="5043694"/>
                  <a:pt x="4336488" y="6151062"/>
                </a:cubicBezTo>
                <a:lnTo>
                  <a:pt x="4890105" y="6858535"/>
                </a:lnTo>
                <a:close/>
                <a:moveTo>
                  <a:pt x="553617" y="6858535"/>
                </a:moveTo>
                <a:cubicBezTo>
                  <a:pt x="2214468" y="5782073"/>
                  <a:pt x="3198616" y="4244307"/>
                  <a:pt x="3198616" y="2060611"/>
                </a:cubicBezTo>
                <a:cubicBezTo>
                  <a:pt x="3198616" y="738111"/>
                  <a:pt x="2644999" y="0"/>
                  <a:pt x="1814574" y="0"/>
                </a:cubicBezTo>
                <a:cubicBezTo>
                  <a:pt x="1107234" y="0"/>
                  <a:pt x="615160" y="461303"/>
                  <a:pt x="615160" y="1230186"/>
                </a:cubicBezTo>
                <a:cubicBezTo>
                  <a:pt x="615160" y="1999068"/>
                  <a:pt x="1230186" y="2368057"/>
                  <a:pt x="1814574" y="2368057"/>
                </a:cubicBezTo>
                <a:cubicBezTo>
                  <a:pt x="1906888" y="2368057"/>
                  <a:pt x="1999202" y="2368057"/>
                  <a:pt x="2060745" y="2337286"/>
                </a:cubicBezTo>
                <a:cubicBezTo>
                  <a:pt x="2060745" y="4090584"/>
                  <a:pt x="1353271" y="5043828"/>
                  <a:pt x="0" y="6151196"/>
                </a:cubicBezTo>
                <a:lnTo>
                  <a:pt x="553617" y="6858535"/>
                </a:lnTo>
                <a:close/>
              </a:path>
            </a:pathLst>
          </a:custGeom>
          <a:solidFill>
            <a:schemeClr val="accent1"/>
          </a:solidFill>
          <a:ln w="1338" cap="flat">
            <a:noFill/>
            <a:prstDash val="solid"/>
            <a:miter/>
          </a:ln>
        </p:spPr>
        <p:txBody>
          <a:bodyPr rtlCol="0" anchor="ctr"/>
          <a:lstStyle/>
          <a:p>
            <a:endParaRPr lang="de-DE"/>
          </a:p>
        </p:txBody>
      </p:sp>
      <p:sp>
        <p:nvSpPr>
          <p:cNvPr id="15" name="Bildplatzhalter 14">
            <a:extLst>
              <a:ext uri="{FF2B5EF4-FFF2-40B4-BE49-F238E27FC236}">
                <a16:creationId xmlns:a16="http://schemas.microsoft.com/office/drawing/2014/main" id="{49F06416-258A-4BCA-A040-A5019C82A09A}"/>
              </a:ext>
            </a:extLst>
          </p:cNvPr>
          <p:cNvSpPr>
            <a:spLocks noGrp="1"/>
          </p:cNvSpPr>
          <p:nvPr>
            <p:ph type="pic" sz="quarter" idx="15" hasCustomPrompt="1"/>
          </p:nvPr>
        </p:nvSpPr>
        <p:spPr>
          <a:xfrm>
            <a:off x="6568440" y="0"/>
            <a:ext cx="5623560" cy="6858000"/>
          </a:xfrm>
          <a:custGeom>
            <a:avLst/>
            <a:gdLst>
              <a:gd name="connsiteX0" fmla="*/ 1658820 w 5623560"/>
              <a:gd name="connsiteY0" fmla="*/ 0 h 6858000"/>
              <a:gd name="connsiteX1" fmla="*/ 3457498 w 5623560"/>
              <a:gd name="connsiteY1" fmla="*/ 0 h 6858000"/>
              <a:gd name="connsiteX2" fmla="*/ 5623560 w 5623560"/>
              <a:gd name="connsiteY2" fmla="*/ 3017462 h 6858000"/>
              <a:gd name="connsiteX3" fmla="*/ 5623560 w 5623560"/>
              <a:gd name="connsiteY3" fmla="*/ 6858000 h 6858000"/>
              <a:gd name="connsiteX4" fmla="*/ 3247813 w 5623560"/>
              <a:gd name="connsiteY4" fmla="*/ 6858000 h 6858000"/>
              <a:gd name="connsiteX5" fmla="*/ 0 w 5623560"/>
              <a:gd name="connsiteY5" fmla="*/ 616204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3560" h="6858000">
                <a:moveTo>
                  <a:pt x="1658820" y="0"/>
                </a:moveTo>
                <a:lnTo>
                  <a:pt x="3457498" y="0"/>
                </a:lnTo>
                <a:lnTo>
                  <a:pt x="5623560" y="3017462"/>
                </a:lnTo>
                <a:lnTo>
                  <a:pt x="5623560" y="6858000"/>
                </a:lnTo>
                <a:lnTo>
                  <a:pt x="3247813" y="6858000"/>
                </a:lnTo>
                <a:lnTo>
                  <a:pt x="0" y="616204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3" name="Datumsplatzhalter 2">
            <a:extLst>
              <a:ext uri="{FF2B5EF4-FFF2-40B4-BE49-F238E27FC236}">
                <a16:creationId xmlns:a16="http://schemas.microsoft.com/office/drawing/2014/main" id="{71D3177F-45E4-476E-AA51-A4EFF6682756}"/>
              </a:ext>
            </a:extLst>
          </p:cNvPr>
          <p:cNvSpPr>
            <a:spLocks noGrp="1"/>
          </p:cNvSpPr>
          <p:nvPr>
            <p:ph type="dt" sz="half" idx="10"/>
          </p:nvPr>
        </p:nvSpPr>
        <p:spPr/>
        <p:txBody>
          <a:bodyPr/>
          <a:lstStyle>
            <a:lvl1pPr>
              <a:defRPr>
                <a:solidFill>
                  <a:schemeClr val="bg1"/>
                </a:solidFill>
              </a:defRPr>
            </a:lvl1pPr>
          </a:lstStyle>
          <a:p>
            <a:fld id="{A7A0B04C-5519-4309-8BA4-355843DC237C}" type="datetime1">
              <a:rPr lang="de-DE" smtClean="0"/>
              <a:pPr/>
              <a:t>05.11.2024</a:t>
            </a:fld>
            <a:endParaRPr lang="de-DE"/>
          </a:p>
        </p:txBody>
      </p:sp>
      <p:sp>
        <p:nvSpPr>
          <p:cNvPr id="4" name="Fußzeilenplatzhalter 3">
            <a:extLst>
              <a:ext uri="{FF2B5EF4-FFF2-40B4-BE49-F238E27FC236}">
                <a16:creationId xmlns:a16="http://schemas.microsoft.com/office/drawing/2014/main" id="{999279D8-725D-4CD1-BC32-A2A6FBABB7D6}"/>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6FEC451A-267B-4DFA-B45E-B549E9A9F5DD}"/>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Tree>
    <p:extLst>
      <p:ext uri="{BB962C8B-B14F-4D97-AF65-F5344CB8AC3E}">
        <p14:creationId xmlns:p14="http://schemas.microsoft.com/office/powerpoint/2010/main" val="22554588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Zit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8D5459-0875-40B2-949E-E6738B4F832A}"/>
              </a:ext>
            </a:extLst>
          </p:cNvPr>
          <p:cNvSpPr>
            <a:spLocks noGrp="1"/>
          </p:cNvSpPr>
          <p:nvPr>
            <p:ph type="title"/>
          </p:nvPr>
        </p:nvSpPr>
        <p:spPr>
          <a:xfrm>
            <a:off x="954854" y="661971"/>
            <a:ext cx="5976664" cy="3960440"/>
          </a:xfrm>
        </p:spPr>
        <p:txBody>
          <a:bodyPr anchor="b"/>
          <a:lstStyle>
            <a:lvl1pPr>
              <a:lnSpc>
                <a:spcPts val="5200"/>
              </a:lnSpc>
              <a:defRPr sz="4800">
                <a:solidFill>
                  <a:schemeClr val="tx1"/>
                </a:solidFill>
              </a:defRPr>
            </a:lvl1pPr>
          </a:lstStyle>
          <a:p>
            <a:r>
              <a:rPr lang="es-ES"/>
              <a:t>Haga clic para modificar el estilo de título del patrón</a:t>
            </a:r>
            <a:endParaRPr lang="de-DE"/>
          </a:p>
        </p:txBody>
      </p:sp>
      <p:sp>
        <p:nvSpPr>
          <p:cNvPr id="12" name="Textplatzhalter 11">
            <a:extLst>
              <a:ext uri="{FF2B5EF4-FFF2-40B4-BE49-F238E27FC236}">
                <a16:creationId xmlns:a16="http://schemas.microsoft.com/office/drawing/2014/main" id="{D7975C9F-4F47-4780-A174-0B30594E3ECA}"/>
              </a:ext>
            </a:extLst>
          </p:cNvPr>
          <p:cNvSpPr>
            <a:spLocks noGrp="1"/>
          </p:cNvSpPr>
          <p:nvPr>
            <p:ph type="body" sz="quarter" idx="13"/>
          </p:nvPr>
        </p:nvSpPr>
        <p:spPr>
          <a:xfrm>
            <a:off x="954854" y="5048249"/>
            <a:ext cx="5357169" cy="612775"/>
          </a:xfrm>
        </p:spPr>
        <p:txBody>
          <a:bodyPr/>
          <a:lstStyle>
            <a:lvl1pPr>
              <a:buNone/>
              <a:defRPr>
                <a:solidFill>
                  <a:schemeClr val="tx1"/>
                </a:solidFill>
              </a:defRPr>
            </a:lvl1pPr>
            <a:lvl2pPr>
              <a:buNone/>
              <a:defRPr/>
            </a:lvl2pPr>
          </a:lstStyle>
          <a:p>
            <a:pPr lvl="0"/>
            <a:r>
              <a:rPr lang="es-ES"/>
              <a:t>Haga clic para modificar los estilos de texto del patrón</a:t>
            </a:r>
          </a:p>
        </p:txBody>
      </p:sp>
      <p:sp>
        <p:nvSpPr>
          <p:cNvPr id="14" name="Grafik 12">
            <a:extLst>
              <a:ext uri="{FF2B5EF4-FFF2-40B4-BE49-F238E27FC236}">
                <a16:creationId xmlns:a16="http://schemas.microsoft.com/office/drawing/2014/main" id="{F8E6612D-C11E-4DA5-ABF4-CD50407A5F0E}"/>
              </a:ext>
            </a:extLst>
          </p:cNvPr>
          <p:cNvSpPr/>
          <p:nvPr/>
        </p:nvSpPr>
        <p:spPr>
          <a:xfrm>
            <a:off x="394667" y="553444"/>
            <a:ext cx="792088" cy="720955"/>
          </a:xfrm>
          <a:custGeom>
            <a:avLst/>
            <a:gdLst>
              <a:gd name="connsiteX0" fmla="*/ 4890105 w 7535237"/>
              <a:gd name="connsiteY0" fmla="*/ 6858535 h 6858535"/>
              <a:gd name="connsiteX1" fmla="*/ 7535238 w 7535237"/>
              <a:gd name="connsiteY1" fmla="*/ 2060611 h 6858535"/>
              <a:gd name="connsiteX2" fmla="*/ 6151196 w 7535237"/>
              <a:gd name="connsiteY2" fmla="*/ 0 h 6858535"/>
              <a:gd name="connsiteX3" fmla="*/ 4951648 w 7535237"/>
              <a:gd name="connsiteY3" fmla="*/ 1230186 h 6858535"/>
              <a:gd name="connsiteX4" fmla="*/ 6151196 w 7535237"/>
              <a:gd name="connsiteY4" fmla="*/ 2368057 h 6858535"/>
              <a:gd name="connsiteX5" fmla="*/ 6397233 w 7535237"/>
              <a:gd name="connsiteY5" fmla="*/ 2337286 h 6858535"/>
              <a:gd name="connsiteX6" fmla="*/ 4336488 w 7535237"/>
              <a:gd name="connsiteY6" fmla="*/ 6151062 h 6858535"/>
              <a:gd name="connsiteX7" fmla="*/ 4890105 w 7535237"/>
              <a:gd name="connsiteY7" fmla="*/ 6858535 h 6858535"/>
              <a:gd name="connsiteX8" fmla="*/ 553617 w 7535237"/>
              <a:gd name="connsiteY8" fmla="*/ 6858535 h 6858535"/>
              <a:gd name="connsiteX9" fmla="*/ 3198616 w 7535237"/>
              <a:gd name="connsiteY9" fmla="*/ 2060611 h 6858535"/>
              <a:gd name="connsiteX10" fmla="*/ 1814574 w 7535237"/>
              <a:gd name="connsiteY10" fmla="*/ 0 h 6858535"/>
              <a:gd name="connsiteX11" fmla="*/ 615160 w 7535237"/>
              <a:gd name="connsiteY11" fmla="*/ 1230186 h 6858535"/>
              <a:gd name="connsiteX12" fmla="*/ 1814574 w 7535237"/>
              <a:gd name="connsiteY12" fmla="*/ 2368057 h 6858535"/>
              <a:gd name="connsiteX13" fmla="*/ 2060745 w 7535237"/>
              <a:gd name="connsiteY13" fmla="*/ 2337286 h 6858535"/>
              <a:gd name="connsiteX14" fmla="*/ 0 w 7535237"/>
              <a:gd name="connsiteY14" fmla="*/ 6151196 h 6858535"/>
              <a:gd name="connsiteX15" fmla="*/ 553617 w 7535237"/>
              <a:gd name="connsiteY15" fmla="*/ 6858535 h 685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35237" h="6858535">
                <a:moveTo>
                  <a:pt x="4890105" y="6858535"/>
                </a:moveTo>
                <a:cubicBezTo>
                  <a:pt x="6551090" y="5782073"/>
                  <a:pt x="7535238" y="4244307"/>
                  <a:pt x="7535238" y="2060611"/>
                </a:cubicBezTo>
                <a:cubicBezTo>
                  <a:pt x="7535238" y="738111"/>
                  <a:pt x="6981621" y="0"/>
                  <a:pt x="6151196" y="0"/>
                </a:cubicBezTo>
                <a:cubicBezTo>
                  <a:pt x="5443856" y="0"/>
                  <a:pt x="4951648" y="461303"/>
                  <a:pt x="4951648" y="1230186"/>
                </a:cubicBezTo>
                <a:cubicBezTo>
                  <a:pt x="4951648" y="1999068"/>
                  <a:pt x="5566807" y="2368057"/>
                  <a:pt x="6151196" y="2368057"/>
                </a:cubicBezTo>
                <a:cubicBezTo>
                  <a:pt x="6243510" y="2368057"/>
                  <a:pt x="6335824" y="2368057"/>
                  <a:pt x="6397233" y="2337286"/>
                </a:cubicBezTo>
                <a:cubicBezTo>
                  <a:pt x="6397233" y="4090450"/>
                  <a:pt x="5689893" y="5043694"/>
                  <a:pt x="4336488" y="6151062"/>
                </a:cubicBezTo>
                <a:lnTo>
                  <a:pt x="4890105" y="6858535"/>
                </a:lnTo>
                <a:close/>
                <a:moveTo>
                  <a:pt x="553617" y="6858535"/>
                </a:moveTo>
                <a:cubicBezTo>
                  <a:pt x="2214468" y="5782073"/>
                  <a:pt x="3198616" y="4244307"/>
                  <a:pt x="3198616" y="2060611"/>
                </a:cubicBezTo>
                <a:cubicBezTo>
                  <a:pt x="3198616" y="738111"/>
                  <a:pt x="2644999" y="0"/>
                  <a:pt x="1814574" y="0"/>
                </a:cubicBezTo>
                <a:cubicBezTo>
                  <a:pt x="1107234" y="0"/>
                  <a:pt x="615160" y="461303"/>
                  <a:pt x="615160" y="1230186"/>
                </a:cubicBezTo>
                <a:cubicBezTo>
                  <a:pt x="615160" y="1999068"/>
                  <a:pt x="1230186" y="2368057"/>
                  <a:pt x="1814574" y="2368057"/>
                </a:cubicBezTo>
                <a:cubicBezTo>
                  <a:pt x="1906888" y="2368057"/>
                  <a:pt x="1999202" y="2368057"/>
                  <a:pt x="2060745" y="2337286"/>
                </a:cubicBezTo>
                <a:cubicBezTo>
                  <a:pt x="2060745" y="4090584"/>
                  <a:pt x="1353271" y="5043828"/>
                  <a:pt x="0" y="6151196"/>
                </a:cubicBezTo>
                <a:lnTo>
                  <a:pt x="553617" y="6858535"/>
                </a:lnTo>
                <a:close/>
              </a:path>
            </a:pathLst>
          </a:custGeom>
          <a:solidFill>
            <a:schemeClr val="accent1"/>
          </a:solidFill>
          <a:ln w="1338" cap="flat">
            <a:noFill/>
            <a:prstDash val="solid"/>
            <a:miter/>
          </a:ln>
        </p:spPr>
        <p:txBody>
          <a:bodyPr rtlCol="0" anchor="ctr"/>
          <a:lstStyle/>
          <a:p>
            <a:endParaRPr lang="de-DE">
              <a:solidFill>
                <a:schemeClr val="tx1"/>
              </a:solidFill>
            </a:endParaRPr>
          </a:p>
        </p:txBody>
      </p:sp>
      <p:sp>
        <p:nvSpPr>
          <p:cNvPr id="15" name="Bildplatzhalter 14">
            <a:extLst>
              <a:ext uri="{FF2B5EF4-FFF2-40B4-BE49-F238E27FC236}">
                <a16:creationId xmlns:a16="http://schemas.microsoft.com/office/drawing/2014/main" id="{49F06416-258A-4BCA-A040-A5019C82A09A}"/>
              </a:ext>
            </a:extLst>
          </p:cNvPr>
          <p:cNvSpPr>
            <a:spLocks noGrp="1"/>
          </p:cNvSpPr>
          <p:nvPr>
            <p:ph type="pic" sz="quarter" idx="15" hasCustomPrompt="1"/>
          </p:nvPr>
        </p:nvSpPr>
        <p:spPr>
          <a:xfrm>
            <a:off x="6568440" y="0"/>
            <a:ext cx="5623560" cy="6858000"/>
          </a:xfrm>
          <a:custGeom>
            <a:avLst/>
            <a:gdLst>
              <a:gd name="connsiteX0" fmla="*/ 1658820 w 5623560"/>
              <a:gd name="connsiteY0" fmla="*/ 0 h 6858000"/>
              <a:gd name="connsiteX1" fmla="*/ 3457498 w 5623560"/>
              <a:gd name="connsiteY1" fmla="*/ 0 h 6858000"/>
              <a:gd name="connsiteX2" fmla="*/ 5623560 w 5623560"/>
              <a:gd name="connsiteY2" fmla="*/ 3017462 h 6858000"/>
              <a:gd name="connsiteX3" fmla="*/ 5623560 w 5623560"/>
              <a:gd name="connsiteY3" fmla="*/ 6858000 h 6858000"/>
              <a:gd name="connsiteX4" fmla="*/ 3247813 w 5623560"/>
              <a:gd name="connsiteY4" fmla="*/ 6858000 h 6858000"/>
              <a:gd name="connsiteX5" fmla="*/ 0 w 5623560"/>
              <a:gd name="connsiteY5" fmla="*/ 616204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3560" h="6858000">
                <a:moveTo>
                  <a:pt x="1658820" y="0"/>
                </a:moveTo>
                <a:lnTo>
                  <a:pt x="3457498" y="0"/>
                </a:lnTo>
                <a:lnTo>
                  <a:pt x="5623560" y="3017462"/>
                </a:lnTo>
                <a:lnTo>
                  <a:pt x="5623560" y="6858000"/>
                </a:lnTo>
                <a:lnTo>
                  <a:pt x="3247813" y="6858000"/>
                </a:lnTo>
                <a:lnTo>
                  <a:pt x="0" y="6162040"/>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3" name="Datumsplatzhalter 2">
            <a:extLst>
              <a:ext uri="{FF2B5EF4-FFF2-40B4-BE49-F238E27FC236}">
                <a16:creationId xmlns:a16="http://schemas.microsoft.com/office/drawing/2014/main" id="{71D3177F-45E4-476E-AA51-A4EFF6682756}"/>
              </a:ext>
            </a:extLst>
          </p:cNvPr>
          <p:cNvSpPr>
            <a:spLocks noGrp="1"/>
          </p:cNvSpPr>
          <p:nvPr>
            <p:ph type="dt" sz="half" idx="10"/>
          </p:nvPr>
        </p:nvSpPr>
        <p:spPr/>
        <p:txBody>
          <a:bodyPr/>
          <a:lstStyle>
            <a:lvl1pPr>
              <a:defRPr>
                <a:solidFill>
                  <a:schemeClr val="accent1"/>
                </a:solidFill>
              </a:defRPr>
            </a:lvl1pPr>
          </a:lstStyle>
          <a:p>
            <a:fld id="{A7A0B04C-5519-4309-8BA4-355843DC237C}" type="datetime1">
              <a:rPr lang="de-DE" smtClean="0"/>
              <a:pPr/>
              <a:t>05.11.2024</a:t>
            </a:fld>
            <a:endParaRPr lang="de-DE"/>
          </a:p>
        </p:txBody>
      </p:sp>
      <p:sp>
        <p:nvSpPr>
          <p:cNvPr id="4" name="Fußzeilenplatzhalter 3">
            <a:extLst>
              <a:ext uri="{FF2B5EF4-FFF2-40B4-BE49-F238E27FC236}">
                <a16:creationId xmlns:a16="http://schemas.microsoft.com/office/drawing/2014/main" id="{999279D8-725D-4CD1-BC32-A2A6FBABB7D6}"/>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6FEC451A-267B-4DFA-B45E-B549E9A9F5DD}"/>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Tree>
    <p:extLst>
      <p:ext uri="{BB962C8B-B14F-4D97-AF65-F5344CB8AC3E}">
        <p14:creationId xmlns:p14="http://schemas.microsoft.com/office/powerpoint/2010/main" val="25095731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3 Bilder">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B3DD662F-763E-46F8-89D7-3C5E010EFBBF}"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3793804"/>
            <a:ext cx="3417664" cy="237681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15" name="Titel 1">
            <a:extLst>
              <a:ext uri="{FF2B5EF4-FFF2-40B4-BE49-F238E27FC236}">
                <a16:creationId xmlns:a16="http://schemas.microsoft.com/office/drawing/2014/main" id="{C7245C67-C9CF-49EE-B5FE-E7E6FF128AD7}"/>
              </a:ext>
            </a:extLst>
          </p:cNvPr>
          <p:cNvSpPr>
            <a:spLocks noGrp="1"/>
          </p:cNvSpPr>
          <p:nvPr>
            <p:ph type="title"/>
          </p:nvPr>
        </p:nvSpPr>
        <p:spPr>
          <a:xfrm>
            <a:off x="446233" y="410991"/>
            <a:ext cx="9178159" cy="857769"/>
          </a:xfrm>
        </p:spPr>
        <p:txBody>
          <a:bodyPr/>
          <a:lstStyle>
            <a:lvl1pPr>
              <a:defRPr>
                <a:solidFill>
                  <a:schemeClr val="bg1"/>
                </a:solidFill>
              </a:defRPr>
            </a:lvl1pPr>
          </a:lstStyle>
          <a:p>
            <a:r>
              <a:rPr lang="es-ES"/>
              <a:t>Haga clic para modificar el estilo de título del patrón</a:t>
            </a:r>
            <a:endParaRPr lang="de-DE"/>
          </a:p>
        </p:txBody>
      </p:sp>
      <p:sp>
        <p:nvSpPr>
          <p:cNvPr id="16" name="Textplatzhalter 8">
            <a:extLst>
              <a:ext uri="{FF2B5EF4-FFF2-40B4-BE49-F238E27FC236}">
                <a16:creationId xmlns:a16="http://schemas.microsoft.com/office/drawing/2014/main" id="{E610442F-6742-4F5A-BB9F-F991A7FFF90D}"/>
              </a:ext>
            </a:extLst>
          </p:cNvPr>
          <p:cNvSpPr>
            <a:spLocks noGrp="1"/>
          </p:cNvSpPr>
          <p:nvPr>
            <p:ph type="body" sz="quarter" idx="14" hasCustomPrompt="1"/>
          </p:nvPr>
        </p:nvSpPr>
        <p:spPr>
          <a:xfrm>
            <a:off x="442913" y="1369905"/>
            <a:ext cx="9178925"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
        <p:nvSpPr>
          <p:cNvPr id="21" name="Bildplatzhalter 20">
            <a:extLst>
              <a:ext uri="{FF2B5EF4-FFF2-40B4-BE49-F238E27FC236}">
                <a16:creationId xmlns:a16="http://schemas.microsoft.com/office/drawing/2014/main" id="{0E5F20F0-78F1-46DD-BC65-D2A646AE53D6}"/>
              </a:ext>
            </a:extLst>
          </p:cNvPr>
          <p:cNvSpPr>
            <a:spLocks noGrp="1"/>
          </p:cNvSpPr>
          <p:nvPr>
            <p:ph type="pic" sz="quarter" idx="15" hasCustomPrompt="1"/>
          </p:nvPr>
        </p:nvSpPr>
        <p:spPr>
          <a:xfrm>
            <a:off x="4727848" y="2065338"/>
            <a:ext cx="2176462" cy="1414462"/>
          </a:xfrm>
          <a:custGeom>
            <a:avLst/>
            <a:gdLst>
              <a:gd name="connsiteX0" fmla="*/ 0 w 2176462"/>
              <a:gd name="connsiteY0" fmla="*/ 0 h 1414462"/>
              <a:gd name="connsiteX1" fmla="*/ 1717675 w 2176462"/>
              <a:gd name="connsiteY1" fmla="*/ 227012 h 1414462"/>
              <a:gd name="connsiteX2" fmla="*/ 2176462 w 2176462"/>
              <a:gd name="connsiteY2" fmla="*/ 1414462 h 1414462"/>
              <a:gd name="connsiteX3" fmla="*/ 274637 w 2176462"/>
              <a:gd name="connsiteY3" fmla="*/ 1414462 h 1414462"/>
            </a:gdLst>
            <a:ahLst/>
            <a:cxnLst>
              <a:cxn ang="0">
                <a:pos x="connsiteX0" y="connsiteY0"/>
              </a:cxn>
              <a:cxn ang="0">
                <a:pos x="connsiteX1" y="connsiteY1"/>
              </a:cxn>
              <a:cxn ang="0">
                <a:pos x="connsiteX2" y="connsiteY2"/>
              </a:cxn>
              <a:cxn ang="0">
                <a:pos x="connsiteX3" y="connsiteY3"/>
              </a:cxn>
            </a:cxnLst>
            <a:rect l="l" t="t" r="r" b="b"/>
            <a:pathLst>
              <a:path w="2176462" h="1414462">
                <a:moveTo>
                  <a:pt x="0" y="0"/>
                </a:moveTo>
                <a:lnTo>
                  <a:pt x="1717675" y="227012"/>
                </a:lnTo>
                <a:lnTo>
                  <a:pt x="2176462" y="1414462"/>
                </a:lnTo>
                <a:lnTo>
                  <a:pt x="274637" y="1414462"/>
                </a:lnTo>
                <a:close/>
              </a:path>
            </a:pathLst>
          </a:custGeom>
          <a:solidFill>
            <a:schemeClr val="accent3"/>
          </a:solidFill>
        </p:spPr>
        <p:txBody>
          <a:bodyPr wrap="square" lIns="396000" anchor="ctr">
            <a:noAutofit/>
          </a:bodyPr>
          <a:lstStyle>
            <a:lvl1pPr marL="0" indent="0" algn="l">
              <a:buNone/>
              <a:defRPr>
                <a:solidFill>
                  <a:srgbClr val="C5EDED"/>
                </a:solidFill>
              </a:defRPr>
            </a:lvl1pPr>
          </a:lstStyle>
          <a:p>
            <a:r>
              <a:rPr lang="de-DE"/>
              <a:t>Picture durch</a:t>
            </a:r>
            <a:br>
              <a:rPr lang="de-DE"/>
            </a:br>
            <a:r>
              <a:rPr lang="de-DE"/>
              <a:t>Klick einfügen</a:t>
            </a:r>
          </a:p>
        </p:txBody>
      </p:sp>
      <p:sp>
        <p:nvSpPr>
          <p:cNvPr id="22" name="Bildplatzhalter 21">
            <a:extLst>
              <a:ext uri="{FF2B5EF4-FFF2-40B4-BE49-F238E27FC236}">
                <a16:creationId xmlns:a16="http://schemas.microsoft.com/office/drawing/2014/main" id="{4E5BD501-A2F3-46C5-9CE5-6B665D175413}"/>
              </a:ext>
            </a:extLst>
          </p:cNvPr>
          <p:cNvSpPr>
            <a:spLocks noGrp="1"/>
          </p:cNvSpPr>
          <p:nvPr>
            <p:ph type="pic" sz="quarter" idx="16" hasCustomPrompt="1"/>
          </p:nvPr>
        </p:nvSpPr>
        <p:spPr>
          <a:xfrm>
            <a:off x="983432" y="2065338"/>
            <a:ext cx="2176462" cy="1414462"/>
          </a:xfrm>
          <a:custGeom>
            <a:avLst/>
            <a:gdLst>
              <a:gd name="connsiteX0" fmla="*/ 0 w 2176462"/>
              <a:gd name="connsiteY0" fmla="*/ 0 h 1414462"/>
              <a:gd name="connsiteX1" fmla="*/ 1717675 w 2176462"/>
              <a:gd name="connsiteY1" fmla="*/ 227012 h 1414462"/>
              <a:gd name="connsiteX2" fmla="*/ 2176462 w 2176462"/>
              <a:gd name="connsiteY2" fmla="*/ 1414462 h 1414462"/>
              <a:gd name="connsiteX3" fmla="*/ 274637 w 2176462"/>
              <a:gd name="connsiteY3" fmla="*/ 1414462 h 1414462"/>
            </a:gdLst>
            <a:ahLst/>
            <a:cxnLst>
              <a:cxn ang="0">
                <a:pos x="connsiteX0" y="connsiteY0"/>
              </a:cxn>
              <a:cxn ang="0">
                <a:pos x="connsiteX1" y="connsiteY1"/>
              </a:cxn>
              <a:cxn ang="0">
                <a:pos x="connsiteX2" y="connsiteY2"/>
              </a:cxn>
              <a:cxn ang="0">
                <a:pos x="connsiteX3" y="connsiteY3"/>
              </a:cxn>
            </a:cxnLst>
            <a:rect l="l" t="t" r="r" b="b"/>
            <a:pathLst>
              <a:path w="2176462" h="1414462">
                <a:moveTo>
                  <a:pt x="0" y="0"/>
                </a:moveTo>
                <a:lnTo>
                  <a:pt x="1717675" y="227012"/>
                </a:lnTo>
                <a:lnTo>
                  <a:pt x="2176462" y="1414462"/>
                </a:lnTo>
                <a:lnTo>
                  <a:pt x="274637" y="1414462"/>
                </a:lnTo>
                <a:close/>
              </a:path>
            </a:pathLst>
          </a:custGeom>
          <a:solidFill>
            <a:schemeClr val="accent3"/>
          </a:solidFill>
        </p:spPr>
        <p:txBody>
          <a:bodyPr wrap="square" lIns="396000" anchor="ctr">
            <a:noAutofit/>
          </a:bodyPr>
          <a:lstStyle>
            <a:lvl1pPr marL="0" indent="0" algn="l">
              <a:buNone/>
              <a:defRPr>
                <a:solidFill>
                  <a:srgbClr val="C5EDED"/>
                </a:solidFill>
              </a:defRPr>
            </a:lvl1pPr>
          </a:lstStyle>
          <a:p>
            <a:r>
              <a:rPr lang="de-DE"/>
              <a:t>Picture durch</a:t>
            </a:r>
            <a:br>
              <a:rPr lang="de-DE"/>
            </a:br>
            <a:r>
              <a:rPr lang="de-DE"/>
              <a:t>Klick einfügen</a:t>
            </a:r>
          </a:p>
        </p:txBody>
      </p:sp>
      <p:sp>
        <p:nvSpPr>
          <p:cNvPr id="23" name="Bildplatzhalter 22">
            <a:extLst>
              <a:ext uri="{FF2B5EF4-FFF2-40B4-BE49-F238E27FC236}">
                <a16:creationId xmlns:a16="http://schemas.microsoft.com/office/drawing/2014/main" id="{DE009A27-1A69-4B92-B452-C186DDC76152}"/>
              </a:ext>
            </a:extLst>
          </p:cNvPr>
          <p:cNvSpPr>
            <a:spLocks noGrp="1"/>
          </p:cNvSpPr>
          <p:nvPr>
            <p:ph type="pic" sz="quarter" idx="17" hasCustomPrompt="1"/>
          </p:nvPr>
        </p:nvSpPr>
        <p:spPr>
          <a:xfrm>
            <a:off x="8256240" y="2065338"/>
            <a:ext cx="2176462" cy="1414462"/>
          </a:xfrm>
          <a:custGeom>
            <a:avLst/>
            <a:gdLst>
              <a:gd name="connsiteX0" fmla="*/ 0 w 2176462"/>
              <a:gd name="connsiteY0" fmla="*/ 0 h 1414462"/>
              <a:gd name="connsiteX1" fmla="*/ 1717675 w 2176462"/>
              <a:gd name="connsiteY1" fmla="*/ 227012 h 1414462"/>
              <a:gd name="connsiteX2" fmla="*/ 2176462 w 2176462"/>
              <a:gd name="connsiteY2" fmla="*/ 1414462 h 1414462"/>
              <a:gd name="connsiteX3" fmla="*/ 274637 w 2176462"/>
              <a:gd name="connsiteY3" fmla="*/ 1414462 h 1414462"/>
            </a:gdLst>
            <a:ahLst/>
            <a:cxnLst>
              <a:cxn ang="0">
                <a:pos x="connsiteX0" y="connsiteY0"/>
              </a:cxn>
              <a:cxn ang="0">
                <a:pos x="connsiteX1" y="connsiteY1"/>
              </a:cxn>
              <a:cxn ang="0">
                <a:pos x="connsiteX2" y="connsiteY2"/>
              </a:cxn>
              <a:cxn ang="0">
                <a:pos x="connsiteX3" y="connsiteY3"/>
              </a:cxn>
            </a:cxnLst>
            <a:rect l="l" t="t" r="r" b="b"/>
            <a:pathLst>
              <a:path w="2176462" h="1414462">
                <a:moveTo>
                  <a:pt x="0" y="0"/>
                </a:moveTo>
                <a:lnTo>
                  <a:pt x="1717675" y="227012"/>
                </a:lnTo>
                <a:lnTo>
                  <a:pt x="2176462" y="1414462"/>
                </a:lnTo>
                <a:lnTo>
                  <a:pt x="274637" y="1414462"/>
                </a:lnTo>
                <a:close/>
              </a:path>
            </a:pathLst>
          </a:custGeom>
          <a:solidFill>
            <a:schemeClr val="accent3"/>
          </a:solidFill>
        </p:spPr>
        <p:txBody>
          <a:bodyPr wrap="square" lIns="396000" anchor="ctr">
            <a:noAutofit/>
          </a:bodyPr>
          <a:lstStyle>
            <a:lvl1pPr marL="0" indent="0" algn="l">
              <a:buNone/>
              <a:defRPr>
                <a:solidFill>
                  <a:srgbClr val="C5EDED"/>
                </a:solidFill>
              </a:defRPr>
            </a:lvl1pPr>
          </a:lstStyle>
          <a:p>
            <a:r>
              <a:rPr lang="de-DE"/>
              <a:t>Picture durch</a:t>
            </a:r>
            <a:br>
              <a:rPr lang="de-DE"/>
            </a:br>
            <a:r>
              <a:rPr lang="de-DE"/>
              <a:t>Klick einfügen</a:t>
            </a:r>
          </a:p>
        </p:txBody>
      </p:sp>
      <p:sp>
        <p:nvSpPr>
          <p:cNvPr id="25" name="Textplatzhalter 6">
            <a:extLst>
              <a:ext uri="{FF2B5EF4-FFF2-40B4-BE49-F238E27FC236}">
                <a16:creationId xmlns:a16="http://schemas.microsoft.com/office/drawing/2014/main" id="{9D1CA598-3277-4A61-9145-AC7B642A021B}"/>
              </a:ext>
            </a:extLst>
          </p:cNvPr>
          <p:cNvSpPr>
            <a:spLocks noGrp="1"/>
          </p:cNvSpPr>
          <p:nvPr>
            <p:ph type="body" sz="quarter" idx="18"/>
          </p:nvPr>
        </p:nvSpPr>
        <p:spPr>
          <a:xfrm>
            <a:off x="4175205" y="3793804"/>
            <a:ext cx="3417664" cy="237681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26" name="Textplatzhalter 6">
            <a:extLst>
              <a:ext uri="{FF2B5EF4-FFF2-40B4-BE49-F238E27FC236}">
                <a16:creationId xmlns:a16="http://schemas.microsoft.com/office/drawing/2014/main" id="{800DB30B-E065-491E-ADE7-810ECB01D6A5}"/>
              </a:ext>
            </a:extLst>
          </p:cNvPr>
          <p:cNvSpPr>
            <a:spLocks noGrp="1"/>
          </p:cNvSpPr>
          <p:nvPr>
            <p:ph type="body" sz="quarter" idx="19"/>
          </p:nvPr>
        </p:nvSpPr>
        <p:spPr>
          <a:xfrm>
            <a:off x="8116285" y="3793804"/>
            <a:ext cx="3417664" cy="2376810"/>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22772618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D5754BE3-4496-494E-94E1-5F9E6689DED9}"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2800350" y="1814513"/>
            <a:ext cx="4879825" cy="20780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15" name="Titel 1">
            <a:extLst>
              <a:ext uri="{FF2B5EF4-FFF2-40B4-BE49-F238E27FC236}">
                <a16:creationId xmlns:a16="http://schemas.microsoft.com/office/drawing/2014/main" id="{C7245C67-C9CF-49EE-B5FE-E7E6FF128AD7}"/>
              </a:ext>
            </a:extLst>
          </p:cNvPr>
          <p:cNvSpPr>
            <a:spLocks noGrp="1"/>
          </p:cNvSpPr>
          <p:nvPr>
            <p:ph type="title"/>
          </p:nvPr>
        </p:nvSpPr>
        <p:spPr>
          <a:xfrm>
            <a:off x="446233" y="410991"/>
            <a:ext cx="9178159" cy="929777"/>
          </a:xfrm>
        </p:spPr>
        <p:txBody>
          <a:bodyPr/>
          <a:lstStyle>
            <a:lvl1pPr>
              <a:defRPr>
                <a:solidFill>
                  <a:schemeClr val="bg1"/>
                </a:solidFill>
              </a:defRPr>
            </a:lvl1pPr>
          </a:lstStyle>
          <a:p>
            <a:r>
              <a:rPr lang="es-ES"/>
              <a:t>Haga clic para modificar el estilo de título del patrón</a:t>
            </a:r>
            <a:endParaRPr lang="de-DE"/>
          </a:p>
        </p:txBody>
      </p:sp>
      <p:sp>
        <p:nvSpPr>
          <p:cNvPr id="24" name="Bildplatzhalter 23">
            <a:extLst>
              <a:ext uri="{FF2B5EF4-FFF2-40B4-BE49-F238E27FC236}">
                <a16:creationId xmlns:a16="http://schemas.microsoft.com/office/drawing/2014/main" id="{79AF9348-7044-4A4C-B0EE-87D986354C94}"/>
              </a:ext>
            </a:extLst>
          </p:cNvPr>
          <p:cNvSpPr>
            <a:spLocks noGrp="1"/>
          </p:cNvSpPr>
          <p:nvPr>
            <p:ph type="pic" sz="quarter" idx="15" hasCustomPrompt="1"/>
          </p:nvPr>
        </p:nvSpPr>
        <p:spPr>
          <a:xfrm>
            <a:off x="965200" y="1422400"/>
            <a:ext cx="1598613" cy="2470150"/>
          </a:xfrm>
          <a:custGeom>
            <a:avLst/>
            <a:gdLst>
              <a:gd name="connsiteX0" fmla="*/ 1598613 w 1598613"/>
              <a:gd name="connsiteY0" fmla="*/ 0 h 2470150"/>
              <a:gd name="connsiteX1" fmla="*/ 1597025 w 1598613"/>
              <a:gd name="connsiteY1" fmla="*/ 2170113 h 2470150"/>
              <a:gd name="connsiteX2" fmla="*/ 0 w 1598613"/>
              <a:gd name="connsiteY2" fmla="*/ 2470150 h 2470150"/>
              <a:gd name="connsiteX3" fmla="*/ 258763 w 1598613"/>
              <a:gd name="connsiteY3" fmla="*/ 527050 h 2470150"/>
            </a:gdLst>
            <a:ahLst/>
            <a:cxnLst>
              <a:cxn ang="0">
                <a:pos x="connsiteX0" y="connsiteY0"/>
              </a:cxn>
              <a:cxn ang="0">
                <a:pos x="connsiteX1" y="connsiteY1"/>
              </a:cxn>
              <a:cxn ang="0">
                <a:pos x="connsiteX2" y="connsiteY2"/>
              </a:cxn>
              <a:cxn ang="0">
                <a:pos x="connsiteX3" y="connsiteY3"/>
              </a:cxn>
            </a:cxnLst>
            <a:rect l="l" t="t" r="r" b="b"/>
            <a:pathLst>
              <a:path w="1598613" h="2470150">
                <a:moveTo>
                  <a:pt x="1598613" y="0"/>
                </a:moveTo>
                <a:cubicBezTo>
                  <a:pt x="1598084" y="723371"/>
                  <a:pt x="1597554" y="1446742"/>
                  <a:pt x="1597025" y="2170113"/>
                </a:cubicBezTo>
                <a:lnTo>
                  <a:pt x="0" y="2470150"/>
                </a:lnTo>
                <a:lnTo>
                  <a:pt x="258763" y="527050"/>
                </a:lnTo>
                <a:close/>
              </a:path>
            </a:pathLst>
          </a:custGeom>
          <a:solidFill>
            <a:schemeClr val="accent3"/>
          </a:solidFill>
        </p:spPr>
        <p:txBody>
          <a:bodyPr wrap="square" lIns="180000" anchor="ctr">
            <a:noAutofit/>
          </a:bodyPr>
          <a:lstStyle>
            <a:lvl1pPr marL="0" indent="0" algn="ctr">
              <a:buNone/>
              <a:defRPr>
                <a:solidFill>
                  <a:srgbClr val="C5EDED"/>
                </a:solidFill>
              </a:defRPr>
            </a:lvl1pPr>
          </a:lstStyle>
          <a:p>
            <a:r>
              <a:rPr lang="de-DE"/>
              <a:t>Picture durch</a:t>
            </a:r>
            <a:br>
              <a:rPr lang="de-DE"/>
            </a:br>
            <a:r>
              <a:rPr lang="de-DE"/>
              <a:t>Klick einfügen</a:t>
            </a:r>
          </a:p>
        </p:txBody>
      </p:sp>
    </p:spTree>
    <p:extLst>
      <p:ext uri="{BB962C8B-B14F-4D97-AF65-F5344CB8AC3E}">
        <p14:creationId xmlns:p14="http://schemas.microsoft.com/office/powerpoint/2010/main" val="18927312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Kontakt">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 name="Datumsplatzhalter 2">
            <a:extLst>
              <a:ext uri="{FF2B5EF4-FFF2-40B4-BE49-F238E27FC236}">
                <a16:creationId xmlns:a16="http://schemas.microsoft.com/office/drawing/2014/main" id="{E34437EB-54BF-7ABC-D299-CD355E24232D}"/>
              </a:ext>
            </a:extLst>
          </p:cNvPr>
          <p:cNvSpPr>
            <a:spLocks noGrp="1"/>
          </p:cNvSpPr>
          <p:nvPr>
            <p:ph type="dt" sz="half" idx="10"/>
          </p:nvPr>
        </p:nvSpPr>
        <p:spPr>
          <a:xfrm>
            <a:off x="10056440" y="6504702"/>
            <a:ext cx="879459" cy="168994"/>
          </a:xfrm>
        </p:spPr>
        <p:txBody>
          <a:bodyPr/>
          <a:lstStyle>
            <a:lvl1pPr>
              <a:defRPr>
                <a:solidFill>
                  <a:schemeClr val="bg1"/>
                </a:solidFill>
              </a:defRPr>
            </a:lvl1pPr>
          </a:lstStyle>
          <a:p>
            <a:fld id="{D5754BE3-4496-494E-94E1-5F9E6689DED9}" type="datetime1">
              <a:rPr lang="de-DE" smtClean="0"/>
              <a:pPr/>
              <a:t>05.11.2024</a:t>
            </a:fld>
            <a:endParaRPr lang="de-DE"/>
          </a:p>
        </p:txBody>
      </p:sp>
      <p:sp>
        <p:nvSpPr>
          <p:cNvPr id="6" name="Fußzeilenplatzhalter 3">
            <a:extLst>
              <a:ext uri="{FF2B5EF4-FFF2-40B4-BE49-F238E27FC236}">
                <a16:creationId xmlns:a16="http://schemas.microsoft.com/office/drawing/2014/main" id="{61D68267-E29A-1118-33B9-1D688917256B}"/>
              </a:ext>
            </a:extLst>
          </p:cNvPr>
          <p:cNvSpPr>
            <a:spLocks noGrp="1"/>
          </p:cNvSpPr>
          <p:nvPr>
            <p:ph type="ftr" sz="quarter" idx="11"/>
          </p:nvPr>
        </p:nvSpPr>
        <p:spPr>
          <a:xfrm>
            <a:off x="446232" y="6504702"/>
            <a:ext cx="8386071" cy="168994"/>
          </a:xfrm>
        </p:spPr>
        <p:txBody>
          <a:bodyPr/>
          <a:lstStyle>
            <a:lvl1pPr>
              <a:defRPr>
                <a:solidFill>
                  <a:schemeClr val="bg1"/>
                </a:solidFill>
              </a:defRPr>
            </a:lvl1pPr>
          </a:lstStyle>
          <a:p>
            <a:r>
              <a:rPr lang="de-DE"/>
              <a:t>Fußnote</a:t>
            </a:r>
          </a:p>
        </p:txBody>
      </p:sp>
      <p:sp>
        <p:nvSpPr>
          <p:cNvPr id="8" name="Foliennummernplatzhalter 4">
            <a:extLst>
              <a:ext uri="{FF2B5EF4-FFF2-40B4-BE49-F238E27FC236}">
                <a16:creationId xmlns:a16="http://schemas.microsoft.com/office/drawing/2014/main" id="{21B87512-9E2E-AE7B-2838-36BAB5C91107}"/>
              </a:ext>
            </a:extLst>
          </p:cNvPr>
          <p:cNvSpPr>
            <a:spLocks noGrp="1"/>
          </p:cNvSpPr>
          <p:nvPr>
            <p:ph type="sldNum" sz="quarter" idx="12"/>
          </p:nvPr>
        </p:nvSpPr>
        <p:spPr>
          <a:xfrm>
            <a:off x="11136560" y="6504702"/>
            <a:ext cx="612528" cy="168994"/>
          </a:xfrm>
        </p:spPr>
        <p:txBody>
          <a:bodyPr/>
          <a:lstStyle>
            <a:lvl1pPr>
              <a:defRPr>
                <a:solidFill>
                  <a:schemeClr val="bg1"/>
                </a:solidFill>
              </a:defRPr>
            </a:lvl1pPr>
          </a:lstStyle>
          <a:p>
            <a:fld id="{1EFDA2A4-EBD9-4CF7-9623-3EF83B4BB58D}" type="slidenum">
              <a:rPr lang="de-DE" smtClean="0"/>
              <a:pPr/>
              <a:t>‹Nº›</a:t>
            </a:fld>
            <a:endParaRPr lang="de-DE"/>
          </a:p>
        </p:txBody>
      </p:sp>
    </p:spTree>
    <p:extLst>
      <p:ext uri="{BB962C8B-B14F-4D97-AF65-F5344CB8AC3E}">
        <p14:creationId xmlns:p14="http://schemas.microsoft.com/office/powerpoint/2010/main" val="19683700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mit Bild">
    <p:spTree>
      <p:nvGrpSpPr>
        <p:cNvPr id="1" name=""/>
        <p:cNvGrpSpPr/>
        <p:nvPr/>
      </p:nvGrpSpPr>
      <p:grpSpPr>
        <a:xfrm>
          <a:off x="0" y="0"/>
          <a:ext cx="0" cy="0"/>
          <a:chOff x="0" y="0"/>
          <a:chExt cx="0" cy="0"/>
        </a:xfrm>
      </p:grpSpPr>
      <p:grpSp>
        <p:nvGrpSpPr>
          <p:cNvPr id="86" name="Gruppieren 85">
            <a:extLst>
              <a:ext uri="{FF2B5EF4-FFF2-40B4-BE49-F238E27FC236}">
                <a16:creationId xmlns:a16="http://schemas.microsoft.com/office/drawing/2014/main" id="{CE067396-5996-48EE-B266-6B72A8C02A74}"/>
              </a:ext>
            </a:extLst>
          </p:cNvPr>
          <p:cNvGrpSpPr/>
          <p:nvPr userDrawn="1"/>
        </p:nvGrpSpPr>
        <p:grpSpPr>
          <a:xfrm>
            <a:off x="0" y="0"/>
            <a:ext cx="12192000" cy="6858000"/>
            <a:chOff x="0" y="0"/>
            <a:chExt cx="12192000" cy="6858000"/>
          </a:xfrm>
        </p:grpSpPr>
        <p:sp>
          <p:nvSpPr>
            <p:cNvPr id="87" name="Rechteck 86">
              <a:extLst>
                <a:ext uri="{FF2B5EF4-FFF2-40B4-BE49-F238E27FC236}">
                  <a16:creationId xmlns:a16="http://schemas.microsoft.com/office/drawing/2014/main" id="{0525A022-9FB7-4648-8C1B-2267586BCFB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88" name="Rechteck 87">
              <a:extLst>
                <a:ext uri="{FF2B5EF4-FFF2-40B4-BE49-F238E27FC236}">
                  <a16:creationId xmlns:a16="http://schemas.microsoft.com/office/drawing/2014/main" id="{0FB1B898-E1D0-4677-95EE-68532BD2E227}"/>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10" name="Bildplatzhalter 9">
            <a:extLst>
              <a:ext uri="{FF2B5EF4-FFF2-40B4-BE49-F238E27FC236}">
                <a16:creationId xmlns:a16="http://schemas.microsoft.com/office/drawing/2014/main" id="{E1AF70CB-A79B-4C45-A791-B1C3B77F90D0}"/>
              </a:ext>
            </a:extLst>
          </p:cNvPr>
          <p:cNvSpPr>
            <a:spLocks noGrp="1"/>
          </p:cNvSpPr>
          <p:nvPr>
            <p:ph type="pic" sz="quarter" idx="14" hasCustomPrompt="1"/>
          </p:nvPr>
        </p:nvSpPr>
        <p:spPr>
          <a:xfrm>
            <a:off x="6699250" y="3"/>
            <a:ext cx="5492750" cy="6857999"/>
          </a:xfrm>
          <a:custGeom>
            <a:avLst/>
            <a:gdLst>
              <a:gd name="connsiteX0" fmla="*/ 1341182 w 5492750"/>
              <a:gd name="connsiteY0" fmla="*/ 0 h 6857999"/>
              <a:gd name="connsiteX1" fmla="*/ 5492750 w 5492750"/>
              <a:gd name="connsiteY1" fmla="*/ 0 h 6857999"/>
              <a:gd name="connsiteX2" fmla="*/ 5492750 w 5492750"/>
              <a:gd name="connsiteY2" fmla="*/ 6857999 h 6857999"/>
              <a:gd name="connsiteX3" fmla="*/ 1870382 w 5492750"/>
              <a:gd name="connsiteY3" fmla="*/ 6857999 h 6857999"/>
              <a:gd name="connsiteX4" fmla="*/ 0 w 5492750"/>
              <a:gd name="connsiteY4" fmla="*/ 554354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2750" h="6857999">
                <a:moveTo>
                  <a:pt x="1341182" y="0"/>
                </a:moveTo>
                <a:lnTo>
                  <a:pt x="5492750" y="0"/>
                </a:lnTo>
                <a:lnTo>
                  <a:pt x="5492750" y="6857999"/>
                </a:lnTo>
                <a:lnTo>
                  <a:pt x="1870382" y="6857999"/>
                </a:lnTo>
                <a:lnTo>
                  <a:pt x="0" y="5543549"/>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12" name="Textplatzhalter 8">
            <a:extLst>
              <a:ext uri="{FF2B5EF4-FFF2-40B4-BE49-F238E27FC236}">
                <a16:creationId xmlns:a16="http://schemas.microsoft.com/office/drawing/2014/main" id="{A1040BA2-5415-4E94-AB5C-F700F9A53097}"/>
              </a:ext>
            </a:extLst>
          </p:cNvPr>
          <p:cNvSpPr>
            <a:spLocks noGrp="1"/>
          </p:cNvSpPr>
          <p:nvPr>
            <p:ph type="body" sz="quarter" idx="13"/>
          </p:nvPr>
        </p:nvSpPr>
        <p:spPr>
          <a:xfrm>
            <a:off x="632918" y="5864571"/>
            <a:ext cx="5967138" cy="288055"/>
          </a:xfrm>
        </p:spPr>
        <p:txBody>
          <a:bodyPr/>
          <a:lstStyle>
            <a:lvl1pPr>
              <a:buNone/>
              <a:defRPr>
                <a:solidFill>
                  <a:schemeClr val="bg1"/>
                </a:solidFill>
                <a:latin typeface="Source Sans Pro Semibold" panose="020B0603030403020204" pitchFamily="34" charset="0"/>
              </a:defRPr>
            </a:lvl1pPr>
          </a:lstStyle>
          <a:p>
            <a:pPr lvl="0"/>
            <a:r>
              <a:rPr lang="es-ES"/>
              <a:t>Haga clic para modificar los estilos de texto del patrón</a:t>
            </a:r>
          </a:p>
        </p:txBody>
      </p:sp>
      <p:sp>
        <p:nvSpPr>
          <p:cNvPr id="89" name="Titel 1">
            <a:extLst>
              <a:ext uri="{FF2B5EF4-FFF2-40B4-BE49-F238E27FC236}">
                <a16:creationId xmlns:a16="http://schemas.microsoft.com/office/drawing/2014/main" id="{1C07C52F-E262-4539-9E68-2C494431F106}"/>
              </a:ext>
            </a:extLst>
          </p:cNvPr>
          <p:cNvSpPr>
            <a:spLocks noGrp="1"/>
          </p:cNvSpPr>
          <p:nvPr>
            <p:ph type="title"/>
          </p:nvPr>
        </p:nvSpPr>
        <p:spPr>
          <a:xfrm>
            <a:off x="632919" y="4077072"/>
            <a:ext cx="5967137" cy="1480904"/>
          </a:xfrm>
        </p:spPr>
        <p:txBody>
          <a:bodyPr anchor="b"/>
          <a:lstStyle>
            <a:lvl1pPr>
              <a:lnSpc>
                <a:spcPts val="4600"/>
              </a:lnSpc>
              <a:defRPr lang="de-DE" sz="4200" kern="1200" dirty="0">
                <a:solidFill>
                  <a:schemeClr val="bg1"/>
                </a:solidFill>
                <a:latin typeface="+mj-lt"/>
                <a:ea typeface="+mj-ea"/>
                <a:cs typeface="+mj-cs"/>
              </a:defRPr>
            </a:lvl1pPr>
          </a:lstStyle>
          <a:p>
            <a:r>
              <a:rPr lang="es-ES"/>
              <a:t>Haga clic para modificar el estilo de título del patrón</a:t>
            </a:r>
            <a:endParaRPr lang="de-DE"/>
          </a:p>
        </p:txBody>
      </p:sp>
      <p:pic>
        <p:nvPicPr>
          <p:cNvPr id="2" name="Grafik 29">
            <a:extLst>
              <a:ext uri="{FF2B5EF4-FFF2-40B4-BE49-F238E27FC236}">
                <a16:creationId xmlns:a16="http://schemas.microsoft.com/office/drawing/2014/main" id="{B6D869AB-CD39-A7B9-4354-38F129BE401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48135" y="419613"/>
            <a:ext cx="6336703" cy="3218797"/>
          </a:xfrm>
          <a:prstGeom prst="rect">
            <a:avLst/>
          </a:prstGeom>
        </p:spPr>
      </p:pic>
    </p:spTree>
    <p:extLst>
      <p:ext uri="{BB962C8B-B14F-4D97-AF65-F5344CB8AC3E}">
        <p14:creationId xmlns:p14="http://schemas.microsoft.com/office/powerpoint/2010/main" val="21503850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mit Bild 05">
    <p:spTree>
      <p:nvGrpSpPr>
        <p:cNvPr id="1" name=""/>
        <p:cNvGrpSpPr/>
        <p:nvPr/>
      </p:nvGrpSpPr>
      <p:grpSpPr>
        <a:xfrm>
          <a:off x="0" y="0"/>
          <a:ext cx="0" cy="0"/>
          <a:chOff x="0" y="0"/>
          <a:chExt cx="0" cy="0"/>
        </a:xfrm>
      </p:grpSpPr>
      <p:sp>
        <p:nvSpPr>
          <p:cNvPr id="6" name="Datumsplatzhalter 2">
            <a:extLst>
              <a:ext uri="{FF2B5EF4-FFF2-40B4-BE49-F238E27FC236}">
                <a16:creationId xmlns:a16="http://schemas.microsoft.com/office/drawing/2014/main" id="{FF3A8459-3D8F-E117-660E-1D41DA07C85D}"/>
              </a:ext>
            </a:extLst>
          </p:cNvPr>
          <p:cNvSpPr>
            <a:spLocks noGrp="1"/>
          </p:cNvSpPr>
          <p:nvPr>
            <p:ph type="dt" sz="half" idx="10"/>
          </p:nvPr>
        </p:nvSpPr>
        <p:spPr>
          <a:xfrm>
            <a:off x="10056440" y="6504702"/>
            <a:ext cx="879459" cy="168994"/>
          </a:xfrm>
        </p:spPr>
        <p:txBody>
          <a:bodyPr/>
          <a:lstStyle>
            <a:lvl1pPr>
              <a:defRPr>
                <a:solidFill>
                  <a:schemeClr val="accent1"/>
                </a:solidFill>
              </a:defRPr>
            </a:lvl1pPr>
          </a:lstStyle>
          <a:p>
            <a:fld id="{A7A0B04C-5519-4309-8BA4-355843DC237C}" type="datetime1">
              <a:rPr lang="de-DE" smtClean="0"/>
              <a:pPr/>
              <a:t>05.11.2024</a:t>
            </a:fld>
            <a:endParaRPr lang="de-DE"/>
          </a:p>
        </p:txBody>
      </p:sp>
      <p:sp>
        <p:nvSpPr>
          <p:cNvPr id="7" name="Fußzeilenplatzhalter 3">
            <a:extLst>
              <a:ext uri="{FF2B5EF4-FFF2-40B4-BE49-F238E27FC236}">
                <a16:creationId xmlns:a16="http://schemas.microsoft.com/office/drawing/2014/main" id="{657A2404-AE55-6460-5A7F-FF9475393F49}"/>
              </a:ext>
            </a:extLst>
          </p:cNvPr>
          <p:cNvSpPr>
            <a:spLocks noGrp="1"/>
          </p:cNvSpPr>
          <p:nvPr>
            <p:ph type="ftr" sz="quarter" idx="11"/>
          </p:nvPr>
        </p:nvSpPr>
        <p:spPr>
          <a:xfrm>
            <a:off x="446232" y="6504702"/>
            <a:ext cx="8386071" cy="168994"/>
          </a:xfrm>
        </p:spPr>
        <p:txBody>
          <a:bodyPr/>
          <a:lstStyle>
            <a:lvl1pPr>
              <a:defRPr>
                <a:solidFill>
                  <a:schemeClr val="accent1"/>
                </a:solidFill>
              </a:defRPr>
            </a:lvl1pPr>
          </a:lstStyle>
          <a:p>
            <a:r>
              <a:rPr lang="de-DE"/>
              <a:t>Fußnote</a:t>
            </a:r>
          </a:p>
        </p:txBody>
      </p:sp>
      <p:sp>
        <p:nvSpPr>
          <p:cNvPr id="9" name="Foliennummernplatzhalter 4">
            <a:extLst>
              <a:ext uri="{FF2B5EF4-FFF2-40B4-BE49-F238E27FC236}">
                <a16:creationId xmlns:a16="http://schemas.microsoft.com/office/drawing/2014/main" id="{3870AFBC-B324-93D1-73AF-6DF71AE8E3D7}"/>
              </a:ext>
            </a:extLst>
          </p:cNvPr>
          <p:cNvSpPr>
            <a:spLocks noGrp="1"/>
          </p:cNvSpPr>
          <p:nvPr>
            <p:ph type="sldNum" sz="quarter" idx="12"/>
          </p:nvPr>
        </p:nvSpPr>
        <p:spPr>
          <a:xfrm>
            <a:off x="11136560" y="6504702"/>
            <a:ext cx="612528" cy="168994"/>
          </a:xfrm>
        </p:spPr>
        <p:txBody>
          <a:bodyPr/>
          <a:lstStyle>
            <a:lvl1pPr>
              <a:defRPr>
                <a:solidFill>
                  <a:schemeClr val="accent1"/>
                </a:solidFill>
              </a:defRPr>
            </a:lvl1pPr>
          </a:lstStyle>
          <a:p>
            <a:fld id="{1EFDA2A4-EBD9-4CF7-9623-3EF83B4BB58D}" type="slidenum">
              <a:rPr lang="de-DE" smtClean="0"/>
              <a:pPr/>
              <a:t>‹Nº›</a:t>
            </a:fld>
            <a:endParaRPr lang="de-DE"/>
          </a:p>
        </p:txBody>
      </p:sp>
    </p:spTree>
    <p:extLst>
      <p:ext uri="{BB962C8B-B14F-4D97-AF65-F5344CB8AC3E}">
        <p14:creationId xmlns:p14="http://schemas.microsoft.com/office/powerpoint/2010/main" val="27114985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79BEBB1-101F-8367-B11D-CD5BE451A9EF}"/>
              </a:ext>
            </a:extLst>
          </p:cNvPr>
          <p:cNvSpPr>
            <a:spLocks noGrp="1"/>
          </p:cNvSpPr>
          <p:nvPr>
            <p:ph type="title"/>
          </p:nvPr>
        </p:nvSpPr>
        <p:spPr/>
        <p:txBody>
          <a:bodyPr/>
          <a:lstStyle/>
          <a:p>
            <a:r>
              <a:rPr lang="es-MX"/>
              <a:t>Haz clic para modificar el estilo de título del patrón</a:t>
            </a:r>
            <a:endParaRPr lang="es-ES_tradnl"/>
          </a:p>
        </p:txBody>
      </p:sp>
      <p:sp>
        <p:nvSpPr>
          <p:cNvPr id="3" name="Marcador de contenido 2">
            <a:extLst>
              <a:ext uri="{FF2B5EF4-FFF2-40B4-BE49-F238E27FC236}">
                <a16:creationId xmlns:a16="http://schemas.microsoft.com/office/drawing/2014/main" id="{14B56C42-8FD4-C9D0-5EC9-2ACF289B5F94}"/>
              </a:ext>
            </a:extLst>
          </p:cNvPr>
          <p:cNvSpPr>
            <a:spLocks noGrp="1"/>
          </p:cNvSpPr>
          <p:nvPr>
            <p:ph idx="1"/>
          </p:nvPr>
        </p:nvSpPr>
        <p:spPr/>
        <p:txBody>
          <a:bodyPr/>
          <a:lstStyle/>
          <a:p>
            <a:pPr lvl="0"/>
            <a:r>
              <a:rPr lang="es-MX"/>
              <a:t>Haga clic para modificar los estilos de texto del patrón</a:t>
            </a:r>
          </a:p>
          <a:p>
            <a:pPr lvl="1"/>
            <a:r>
              <a:rPr lang="es-MX"/>
              <a:t>Segundo nivel</a:t>
            </a:r>
          </a:p>
          <a:p>
            <a:pPr lvl="2"/>
            <a:r>
              <a:rPr lang="es-MX"/>
              <a:t>Tercer nivel</a:t>
            </a:r>
          </a:p>
          <a:p>
            <a:pPr lvl="3"/>
            <a:r>
              <a:rPr lang="es-MX"/>
              <a:t>Cuarto nivel</a:t>
            </a:r>
          </a:p>
          <a:p>
            <a:pPr lvl="4"/>
            <a:r>
              <a:rPr lang="es-MX"/>
              <a:t>Quinto nivel</a:t>
            </a:r>
            <a:endParaRPr lang="es-ES_tradnl"/>
          </a:p>
        </p:txBody>
      </p:sp>
      <p:sp>
        <p:nvSpPr>
          <p:cNvPr id="4" name="Marcador de fecha 3">
            <a:extLst>
              <a:ext uri="{FF2B5EF4-FFF2-40B4-BE49-F238E27FC236}">
                <a16:creationId xmlns:a16="http://schemas.microsoft.com/office/drawing/2014/main" id="{6A4F393C-6135-FAF1-79D7-ADB5AA9A6792}"/>
              </a:ext>
            </a:extLst>
          </p:cNvPr>
          <p:cNvSpPr>
            <a:spLocks noGrp="1"/>
          </p:cNvSpPr>
          <p:nvPr>
            <p:ph type="dt" sz="half" idx="10"/>
          </p:nvPr>
        </p:nvSpPr>
        <p:spPr/>
        <p:txBody>
          <a:bodyPr/>
          <a:lstStyle/>
          <a:p>
            <a:fld id="{D03EA160-0B5A-F840-91F2-A68D9A4831E3}" type="datetimeFigureOut">
              <a:rPr lang="es-ES_tradnl" smtClean="0"/>
              <a:t>05/11/2024</a:t>
            </a:fld>
            <a:endParaRPr lang="es-ES_tradnl"/>
          </a:p>
        </p:txBody>
      </p:sp>
      <p:sp>
        <p:nvSpPr>
          <p:cNvPr id="5" name="Marcador de pie de página 4">
            <a:extLst>
              <a:ext uri="{FF2B5EF4-FFF2-40B4-BE49-F238E27FC236}">
                <a16:creationId xmlns:a16="http://schemas.microsoft.com/office/drawing/2014/main" id="{16AE1D7B-2B66-3FDB-2F71-4E8D57954BBE}"/>
              </a:ext>
            </a:extLst>
          </p:cNvPr>
          <p:cNvSpPr>
            <a:spLocks noGrp="1"/>
          </p:cNvSpPr>
          <p:nvPr>
            <p:ph type="ftr" sz="quarter" idx="11"/>
          </p:nvPr>
        </p:nvSpPr>
        <p:spPr/>
        <p:txBody>
          <a:bodyPr/>
          <a:lstStyle/>
          <a:p>
            <a:endParaRPr lang="es-ES_tradnl"/>
          </a:p>
        </p:txBody>
      </p:sp>
      <p:sp>
        <p:nvSpPr>
          <p:cNvPr id="6" name="Marcador de número de diapositiva 5">
            <a:extLst>
              <a:ext uri="{FF2B5EF4-FFF2-40B4-BE49-F238E27FC236}">
                <a16:creationId xmlns:a16="http://schemas.microsoft.com/office/drawing/2014/main" id="{04F71CDD-6807-71A0-DD1C-285A62BD9536}"/>
              </a:ext>
            </a:extLst>
          </p:cNvPr>
          <p:cNvSpPr>
            <a:spLocks noGrp="1"/>
          </p:cNvSpPr>
          <p:nvPr>
            <p:ph type="sldNum" sz="quarter" idx="12"/>
          </p:nvPr>
        </p:nvSpPr>
        <p:spPr/>
        <p:txBody>
          <a:bodyPr/>
          <a:lstStyle/>
          <a:p>
            <a:fld id="{17AD9BC2-F1D5-3E48-BB39-269A30443F30}" type="slidenum">
              <a:rPr lang="es-ES_tradnl" smtClean="0"/>
              <a:t>‹Nº›</a:t>
            </a:fld>
            <a:endParaRPr lang="es-ES_tradnl"/>
          </a:p>
        </p:txBody>
      </p:sp>
    </p:spTree>
    <p:extLst>
      <p:ext uri="{BB962C8B-B14F-4D97-AF65-F5344CB8AC3E}">
        <p14:creationId xmlns:p14="http://schemas.microsoft.com/office/powerpoint/2010/main" val="228499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MX"/>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MX"/>
          </a:p>
        </p:txBody>
      </p:sp>
      <p:sp>
        <p:nvSpPr>
          <p:cNvPr id="4" name="Marcador de fecha 3"/>
          <p:cNvSpPr>
            <a:spLocks noGrp="1"/>
          </p:cNvSpPr>
          <p:nvPr>
            <p:ph type="dt" sz="half" idx="10"/>
          </p:nvPr>
        </p:nvSpPr>
        <p:spPr/>
        <p:txBody>
          <a:bodyPr/>
          <a:lstStyle/>
          <a:p>
            <a:fld id="{67DE3C4C-F4D1-46AF-B95D-0DCCC190020A}" type="datetimeFigureOut">
              <a:rPr lang="es-MX" smtClean="0"/>
              <a:t>05/11/2024</a:t>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157446894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MX"/>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p:cNvSpPr>
            <a:spLocks noGrp="1"/>
          </p:cNvSpPr>
          <p:nvPr>
            <p:ph type="dt" sz="half" idx="10"/>
          </p:nvPr>
        </p:nvSpPr>
        <p:spPr/>
        <p:txBody>
          <a:bodyPr/>
          <a:lstStyle/>
          <a:p>
            <a:fld id="{67DE3C4C-F4D1-46AF-B95D-0DCCC190020A}" type="datetimeFigureOut">
              <a:rPr lang="es-MX" smtClean="0"/>
              <a:t>05/11/2024</a:t>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17448192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MX"/>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fld id="{67DE3C4C-F4D1-46AF-B95D-0DCCC190020A}" type="datetimeFigureOut">
              <a:rPr lang="es-MX" smtClean="0"/>
              <a:t>05/11/2024</a:t>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2394382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MX"/>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fecha 4"/>
          <p:cNvSpPr>
            <a:spLocks noGrp="1"/>
          </p:cNvSpPr>
          <p:nvPr>
            <p:ph type="dt" sz="half" idx="10"/>
          </p:nvPr>
        </p:nvSpPr>
        <p:spPr/>
        <p:txBody>
          <a:bodyPr/>
          <a:lstStyle/>
          <a:p>
            <a:fld id="{67DE3C4C-F4D1-46AF-B95D-0DCCC190020A}" type="datetimeFigureOut">
              <a:rPr lang="es-MX" smtClean="0"/>
              <a:t>05/11/2024</a:t>
            </a:fld>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19108411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endParaRPr lang="es-MX"/>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7" name="Marcador de fecha 6"/>
          <p:cNvSpPr>
            <a:spLocks noGrp="1"/>
          </p:cNvSpPr>
          <p:nvPr>
            <p:ph type="dt" sz="half" idx="10"/>
          </p:nvPr>
        </p:nvSpPr>
        <p:spPr/>
        <p:txBody>
          <a:bodyPr/>
          <a:lstStyle/>
          <a:p>
            <a:fld id="{67DE3C4C-F4D1-46AF-B95D-0DCCC190020A}" type="datetimeFigureOut">
              <a:rPr lang="es-MX" smtClean="0"/>
              <a:t>05/11/2024</a:t>
            </a:fld>
            <a:endParaRPr lang="es-MX"/>
          </a:p>
        </p:txBody>
      </p:sp>
      <p:sp>
        <p:nvSpPr>
          <p:cNvPr id="8" name="Marcador de pie de página 7"/>
          <p:cNvSpPr>
            <a:spLocks noGrp="1"/>
          </p:cNvSpPr>
          <p:nvPr>
            <p:ph type="ftr" sz="quarter" idx="11"/>
          </p:nvPr>
        </p:nvSpPr>
        <p:spPr/>
        <p:txBody>
          <a:bodyPr/>
          <a:lstStyle/>
          <a:p>
            <a:endParaRPr lang="es-MX"/>
          </a:p>
        </p:txBody>
      </p:sp>
      <p:sp>
        <p:nvSpPr>
          <p:cNvPr id="9" name="Marcador de número de diapositiva 8"/>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14836771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MX"/>
          </a:p>
        </p:txBody>
      </p:sp>
      <p:sp>
        <p:nvSpPr>
          <p:cNvPr id="3" name="Marcador de fecha 2"/>
          <p:cNvSpPr>
            <a:spLocks noGrp="1"/>
          </p:cNvSpPr>
          <p:nvPr>
            <p:ph type="dt" sz="half" idx="10"/>
          </p:nvPr>
        </p:nvSpPr>
        <p:spPr/>
        <p:txBody>
          <a:bodyPr/>
          <a:lstStyle/>
          <a:p>
            <a:fld id="{67DE3C4C-F4D1-46AF-B95D-0DCCC190020A}" type="datetimeFigureOut">
              <a:rPr lang="es-MX" smtClean="0"/>
              <a:t>05/11/2024</a:t>
            </a:fld>
            <a:endParaRPr lang="es-MX"/>
          </a:p>
        </p:txBody>
      </p:sp>
      <p:sp>
        <p:nvSpPr>
          <p:cNvPr id="4" name="Marcador de pie de página 3"/>
          <p:cNvSpPr>
            <a:spLocks noGrp="1"/>
          </p:cNvSpPr>
          <p:nvPr>
            <p:ph type="ftr" sz="quarter" idx="11"/>
          </p:nvPr>
        </p:nvSpPr>
        <p:spPr/>
        <p:txBody>
          <a:bodyPr/>
          <a:lstStyle/>
          <a:p>
            <a:endParaRPr lang="es-MX"/>
          </a:p>
        </p:txBody>
      </p:sp>
      <p:sp>
        <p:nvSpPr>
          <p:cNvPr id="5" name="Marcador de número de diapositiva 4"/>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3951194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67DE3C4C-F4D1-46AF-B95D-0DCCC190020A}" type="datetimeFigureOut">
              <a:rPr lang="es-MX" smtClean="0"/>
              <a:t>05/11/2024</a:t>
            </a:fld>
            <a:endParaRPr lang="es-MX"/>
          </a:p>
        </p:txBody>
      </p:sp>
      <p:sp>
        <p:nvSpPr>
          <p:cNvPr id="3" name="Marcador de pie de página 2"/>
          <p:cNvSpPr>
            <a:spLocks noGrp="1"/>
          </p:cNvSpPr>
          <p:nvPr>
            <p:ph type="ftr" sz="quarter" idx="11"/>
          </p:nvPr>
        </p:nvSpPr>
        <p:spPr/>
        <p:txBody>
          <a:bodyPr/>
          <a:lstStyle/>
          <a:p>
            <a:endParaRPr lang="es-MX"/>
          </a:p>
        </p:txBody>
      </p:sp>
      <p:sp>
        <p:nvSpPr>
          <p:cNvPr id="4" name="Marcador de número de diapositiva 3"/>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24545769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67DE3C4C-F4D1-46AF-B95D-0DCCC190020A}" type="datetimeFigureOut">
              <a:rPr lang="es-MX" smtClean="0"/>
              <a:t>05/11/2024</a:t>
            </a:fld>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237680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grpSp>
        <p:nvGrpSpPr>
          <p:cNvPr id="25" name="Gruppieren 24">
            <a:extLst>
              <a:ext uri="{FF2B5EF4-FFF2-40B4-BE49-F238E27FC236}">
                <a16:creationId xmlns:a16="http://schemas.microsoft.com/office/drawing/2014/main" id="{A6BD511E-5961-4F35-8C21-97C0D22F0270}"/>
              </a:ext>
            </a:extLst>
          </p:cNvPr>
          <p:cNvGrpSpPr/>
          <p:nvPr userDrawn="1"/>
        </p:nvGrpSpPr>
        <p:grpSpPr>
          <a:xfrm>
            <a:off x="0" y="0"/>
            <a:ext cx="12192000" cy="6858000"/>
            <a:chOff x="0" y="0"/>
            <a:chExt cx="12192000" cy="6858000"/>
          </a:xfrm>
        </p:grpSpPr>
        <p:sp>
          <p:nvSpPr>
            <p:cNvPr id="39" name="Rechteck 38">
              <a:extLst>
                <a:ext uri="{FF2B5EF4-FFF2-40B4-BE49-F238E27FC236}">
                  <a16:creationId xmlns:a16="http://schemas.microsoft.com/office/drawing/2014/main" id="{AA62B02A-3F28-4802-96B8-DC0369F3BA38}"/>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40" name="Rechteck 39">
              <a:extLst>
                <a:ext uri="{FF2B5EF4-FFF2-40B4-BE49-F238E27FC236}">
                  <a16:creationId xmlns:a16="http://schemas.microsoft.com/office/drawing/2014/main" id="{58C6B757-79B8-41EE-A80B-64F23A828914}"/>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 name="Titel 1">
            <a:extLst>
              <a:ext uri="{FF2B5EF4-FFF2-40B4-BE49-F238E27FC236}">
                <a16:creationId xmlns:a16="http://schemas.microsoft.com/office/drawing/2014/main" id="{7BCA7FE2-AAED-4E85-B02D-8A2EB01141FB}"/>
              </a:ext>
            </a:extLst>
          </p:cNvPr>
          <p:cNvSpPr>
            <a:spLocks noGrp="1"/>
          </p:cNvSpPr>
          <p:nvPr>
            <p:ph type="title"/>
          </p:nvPr>
        </p:nvSpPr>
        <p:spPr/>
        <p:txBody>
          <a:bodyPr/>
          <a:lstStyle>
            <a:lvl1pPr>
              <a:defRPr>
                <a:solidFill>
                  <a:srgbClr val="C5EDED"/>
                </a:solidFill>
              </a:defRPr>
            </a:lvl1pPr>
          </a:lstStyle>
          <a:p>
            <a:r>
              <a:rPr lang="es-ES"/>
              <a:t>Haga clic para modificar el estilo de título del patrón</a:t>
            </a:r>
            <a:endParaRPr lang="de-DE"/>
          </a:p>
        </p:txBody>
      </p:sp>
      <p:sp>
        <p:nvSpPr>
          <p:cNvPr id="16" name="Bildplatzhalter 15">
            <a:extLst>
              <a:ext uri="{FF2B5EF4-FFF2-40B4-BE49-F238E27FC236}">
                <a16:creationId xmlns:a16="http://schemas.microsoft.com/office/drawing/2014/main" id="{57216137-0F65-4808-878D-19ECF3BD5B81}"/>
              </a:ext>
            </a:extLst>
          </p:cNvPr>
          <p:cNvSpPr>
            <a:spLocks noGrp="1"/>
          </p:cNvSpPr>
          <p:nvPr>
            <p:ph type="pic" sz="quarter" idx="13" hasCustomPrompt="1"/>
          </p:nvPr>
        </p:nvSpPr>
        <p:spPr>
          <a:xfrm>
            <a:off x="5845358" y="-6501"/>
            <a:ext cx="6346642" cy="6864503"/>
          </a:xfrm>
          <a:custGeom>
            <a:avLst/>
            <a:gdLst>
              <a:gd name="connsiteX0" fmla="*/ 6346642 w 6346642"/>
              <a:gd name="connsiteY0" fmla="*/ 0 h 6864503"/>
              <a:gd name="connsiteX1" fmla="*/ 6346642 w 6346642"/>
              <a:gd name="connsiteY1" fmla="*/ 6864503 h 6864503"/>
              <a:gd name="connsiteX2" fmla="*/ 0 w 6346642"/>
              <a:gd name="connsiteY2" fmla="*/ 6864503 h 6864503"/>
              <a:gd name="connsiteX3" fmla="*/ 1491929 w 6346642"/>
              <a:gd name="connsiteY3" fmla="*/ 1557007 h 6864503"/>
            </a:gdLst>
            <a:ahLst/>
            <a:cxnLst>
              <a:cxn ang="0">
                <a:pos x="connsiteX0" y="connsiteY0"/>
              </a:cxn>
              <a:cxn ang="0">
                <a:pos x="connsiteX1" y="connsiteY1"/>
              </a:cxn>
              <a:cxn ang="0">
                <a:pos x="connsiteX2" y="connsiteY2"/>
              </a:cxn>
              <a:cxn ang="0">
                <a:pos x="connsiteX3" y="connsiteY3"/>
              </a:cxn>
            </a:cxnLst>
            <a:rect l="l" t="t" r="r" b="b"/>
            <a:pathLst>
              <a:path w="6346642" h="6864503">
                <a:moveTo>
                  <a:pt x="6346642" y="0"/>
                </a:moveTo>
                <a:lnTo>
                  <a:pt x="6346642" y="6864503"/>
                </a:lnTo>
                <a:lnTo>
                  <a:pt x="0" y="6864503"/>
                </a:lnTo>
                <a:lnTo>
                  <a:pt x="1491929" y="1557007"/>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a:t>
            </a:r>
            <a:br>
              <a:rPr lang="de-DE"/>
            </a:br>
            <a:r>
              <a:rPr lang="de-DE"/>
              <a:t>Klick einfügen</a:t>
            </a:r>
          </a:p>
        </p:txBody>
      </p:sp>
      <p:sp>
        <p:nvSpPr>
          <p:cNvPr id="18" name="Textplatzhalter 17">
            <a:extLst>
              <a:ext uri="{FF2B5EF4-FFF2-40B4-BE49-F238E27FC236}">
                <a16:creationId xmlns:a16="http://schemas.microsoft.com/office/drawing/2014/main" id="{9FE3EF79-39CF-4649-B383-6BC4848F7792}"/>
              </a:ext>
            </a:extLst>
          </p:cNvPr>
          <p:cNvSpPr>
            <a:spLocks noGrp="1"/>
          </p:cNvSpPr>
          <p:nvPr>
            <p:ph type="body" sz="quarter" idx="14" hasCustomPrompt="1"/>
          </p:nvPr>
        </p:nvSpPr>
        <p:spPr>
          <a:xfrm>
            <a:off x="447051" y="1536153"/>
            <a:ext cx="648643" cy="432693"/>
          </a:xfrm>
        </p:spPr>
        <p:txBody>
          <a:bodyPr>
            <a:normAutofit/>
          </a:bodyPr>
          <a:lstStyle>
            <a:lvl1pPr algn="l">
              <a:lnSpc>
                <a:spcPct val="100000"/>
              </a:lnSpc>
              <a:buNone/>
              <a:defRPr sz="2800">
                <a:solidFill>
                  <a:srgbClr val="C5EDED"/>
                </a:solidFill>
                <a:latin typeface="Source Sans Pro Semibold" panose="020B0603030403020204" pitchFamily="34" charset="0"/>
              </a:defRPr>
            </a:lvl1pPr>
          </a:lstStyle>
          <a:p>
            <a:pPr lvl="0"/>
            <a:r>
              <a:rPr lang="de-DE"/>
              <a:t>00</a:t>
            </a:r>
          </a:p>
        </p:txBody>
      </p:sp>
      <p:sp>
        <p:nvSpPr>
          <p:cNvPr id="20" name="Textplatzhalter 19">
            <a:extLst>
              <a:ext uri="{FF2B5EF4-FFF2-40B4-BE49-F238E27FC236}">
                <a16:creationId xmlns:a16="http://schemas.microsoft.com/office/drawing/2014/main" id="{4470B9B3-5A4E-4C21-A1F1-11F005EC8034}"/>
              </a:ext>
            </a:extLst>
          </p:cNvPr>
          <p:cNvSpPr>
            <a:spLocks noGrp="1"/>
          </p:cNvSpPr>
          <p:nvPr>
            <p:ph type="body" sz="quarter" idx="15"/>
          </p:nvPr>
        </p:nvSpPr>
        <p:spPr>
          <a:xfrm>
            <a:off x="1294296" y="1660928"/>
            <a:ext cx="4551062" cy="287660"/>
          </a:xfrm>
        </p:spPr>
        <p:txBody>
          <a:bodyPr/>
          <a:lstStyle>
            <a:lvl1pPr>
              <a:buNone/>
              <a:defRPr b="0">
                <a:solidFill>
                  <a:srgbClr val="C5EDED"/>
                </a:solidFill>
                <a:latin typeface="Source Sans Pro Semibold" panose="020B0603030403020204" pitchFamily="34" charset="0"/>
              </a:defRPr>
            </a:lvl1pPr>
          </a:lstStyle>
          <a:p>
            <a:pPr lvl="0"/>
            <a:r>
              <a:rPr lang="es-ES"/>
              <a:t>Haga clic para modificar los estilos de texto del patrón</a:t>
            </a:r>
          </a:p>
        </p:txBody>
      </p:sp>
      <p:sp>
        <p:nvSpPr>
          <p:cNvPr id="26" name="Textplatzhalter 17">
            <a:extLst>
              <a:ext uri="{FF2B5EF4-FFF2-40B4-BE49-F238E27FC236}">
                <a16:creationId xmlns:a16="http://schemas.microsoft.com/office/drawing/2014/main" id="{8CFDD6EF-72A7-423C-A37E-B6C4D5448888}"/>
              </a:ext>
            </a:extLst>
          </p:cNvPr>
          <p:cNvSpPr>
            <a:spLocks noGrp="1"/>
          </p:cNvSpPr>
          <p:nvPr>
            <p:ph type="body" sz="quarter" idx="16" hasCustomPrompt="1"/>
          </p:nvPr>
        </p:nvSpPr>
        <p:spPr>
          <a:xfrm>
            <a:off x="447051" y="2193378"/>
            <a:ext cx="648643" cy="432693"/>
          </a:xfrm>
        </p:spPr>
        <p:txBody>
          <a:bodyPr>
            <a:normAutofit/>
          </a:bodyPr>
          <a:lstStyle>
            <a:lvl1pPr algn="l">
              <a:lnSpc>
                <a:spcPct val="100000"/>
              </a:lnSpc>
              <a:buNone/>
              <a:defRPr sz="2800">
                <a:solidFill>
                  <a:srgbClr val="C5EDED"/>
                </a:solidFill>
                <a:latin typeface="Source Sans Pro Semibold" panose="020B0603030403020204" pitchFamily="34" charset="0"/>
              </a:defRPr>
            </a:lvl1pPr>
          </a:lstStyle>
          <a:p>
            <a:pPr lvl="0"/>
            <a:r>
              <a:rPr lang="de-DE"/>
              <a:t>00</a:t>
            </a:r>
          </a:p>
        </p:txBody>
      </p:sp>
      <p:sp>
        <p:nvSpPr>
          <p:cNvPr id="27" name="Textplatzhalter 19">
            <a:extLst>
              <a:ext uri="{FF2B5EF4-FFF2-40B4-BE49-F238E27FC236}">
                <a16:creationId xmlns:a16="http://schemas.microsoft.com/office/drawing/2014/main" id="{2FB888D4-9CAF-4AD8-97D1-CA4AD24E496B}"/>
              </a:ext>
            </a:extLst>
          </p:cNvPr>
          <p:cNvSpPr>
            <a:spLocks noGrp="1"/>
          </p:cNvSpPr>
          <p:nvPr>
            <p:ph type="body" sz="quarter" idx="17"/>
          </p:nvPr>
        </p:nvSpPr>
        <p:spPr>
          <a:xfrm>
            <a:off x="1294296" y="2318153"/>
            <a:ext cx="4551062" cy="287660"/>
          </a:xfrm>
        </p:spPr>
        <p:txBody>
          <a:bodyPr/>
          <a:lstStyle>
            <a:lvl1pPr>
              <a:buNone/>
              <a:defRPr b="0">
                <a:solidFill>
                  <a:srgbClr val="C5EDED"/>
                </a:solidFill>
                <a:latin typeface="Source Sans Pro Semibold" panose="020B0603030403020204" pitchFamily="34" charset="0"/>
              </a:defRPr>
            </a:lvl1pPr>
          </a:lstStyle>
          <a:p>
            <a:pPr lvl="0"/>
            <a:r>
              <a:rPr lang="es-ES"/>
              <a:t>Haga clic para modificar los estilos de texto del patrón</a:t>
            </a:r>
          </a:p>
        </p:txBody>
      </p:sp>
      <p:sp>
        <p:nvSpPr>
          <p:cNvPr id="28" name="Textplatzhalter 17">
            <a:extLst>
              <a:ext uri="{FF2B5EF4-FFF2-40B4-BE49-F238E27FC236}">
                <a16:creationId xmlns:a16="http://schemas.microsoft.com/office/drawing/2014/main" id="{2BE4328F-B4C6-474D-96DF-3961A626D744}"/>
              </a:ext>
            </a:extLst>
          </p:cNvPr>
          <p:cNvSpPr>
            <a:spLocks noGrp="1"/>
          </p:cNvSpPr>
          <p:nvPr>
            <p:ph type="body" sz="quarter" idx="18" hasCustomPrompt="1"/>
          </p:nvPr>
        </p:nvSpPr>
        <p:spPr>
          <a:xfrm>
            <a:off x="447051" y="2850603"/>
            <a:ext cx="648643" cy="432693"/>
          </a:xfrm>
        </p:spPr>
        <p:txBody>
          <a:bodyPr>
            <a:normAutofit/>
          </a:bodyPr>
          <a:lstStyle>
            <a:lvl1pPr algn="l">
              <a:lnSpc>
                <a:spcPct val="100000"/>
              </a:lnSpc>
              <a:buNone/>
              <a:defRPr sz="2800">
                <a:solidFill>
                  <a:srgbClr val="C5EDED"/>
                </a:solidFill>
                <a:latin typeface="Source Sans Pro Semibold" panose="020B0603030403020204" pitchFamily="34" charset="0"/>
              </a:defRPr>
            </a:lvl1pPr>
          </a:lstStyle>
          <a:p>
            <a:pPr lvl="0"/>
            <a:r>
              <a:rPr lang="de-DE"/>
              <a:t>00</a:t>
            </a:r>
          </a:p>
        </p:txBody>
      </p:sp>
      <p:sp>
        <p:nvSpPr>
          <p:cNvPr id="29" name="Textplatzhalter 19">
            <a:extLst>
              <a:ext uri="{FF2B5EF4-FFF2-40B4-BE49-F238E27FC236}">
                <a16:creationId xmlns:a16="http://schemas.microsoft.com/office/drawing/2014/main" id="{FB88DB02-85D0-4EDE-A835-568E1138D5B2}"/>
              </a:ext>
            </a:extLst>
          </p:cNvPr>
          <p:cNvSpPr>
            <a:spLocks noGrp="1"/>
          </p:cNvSpPr>
          <p:nvPr>
            <p:ph type="body" sz="quarter" idx="19"/>
          </p:nvPr>
        </p:nvSpPr>
        <p:spPr>
          <a:xfrm>
            <a:off x="1294296" y="2975378"/>
            <a:ext cx="4551062" cy="287660"/>
          </a:xfrm>
        </p:spPr>
        <p:txBody>
          <a:bodyPr/>
          <a:lstStyle>
            <a:lvl1pPr>
              <a:buNone/>
              <a:defRPr b="0">
                <a:solidFill>
                  <a:srgbClr val="C5EDED"/>
                </a:solidFill>
                <a:latin typeface="Source Sans Pro Semibold" panose="020B0603030403020204" pitchFamily="34" charset="0"/>
              </a:defRPr>
            </a:lvl1pPr>
          </a:lstStyle>
          <a:p>
            <a:pPr lvl="0"/>
            <a:r>
              <a:rPr lang="es-ES"/>
              <a:t>Haga clic para modificar los estilos de texto del patrón</a:t>
            </a:r>
          </a:p>
        </p:txBody>
      </p:sp>
      <p:sp>
        <p:nvSpPr>
          <p:cNvPr id="30" name="Textplatzhalter 17">
            <a:extLst>
              <a:ext uri="{FF2B5EF4-FFF2-40B4-BE49-F238E27FC236}">
                <a16:creationId xmlns:a16="http://schemas.microsoft.com/office/drawing/2014/main" id="{55DE431F-0FC0-4C15-BCBB-6EB280ECA1C4}"/>
              </a:ext>
            </a:extLst>
          </p:cNvPr>
          <p:cNvSpPr>
            <a:spLocks noGrp="1"/>
          </p:cNvSpPr>
          <p:nvPr>
            <p:ph type="body" sz="quarter" idx="20" hasCustomPrompt="1"/>
          </p:nvPr>
        </p:nvSpPr>
        <p:spPr>
          <a:xfrm>
            <a:off x="447051" y="3507828"/>
            <a:ext cx="648643" cy="432693"/>
          </a:xfrm>
        </p:spPr>
        <p:txBody>
          <a:bodyPr>
            <a:normAutofit/>
          </a:bodyPr>
          <a:lstStyle>
            <a:lvl1pPr algn="l">
              <a:lnSpc>
                <a:spcPct val="100000"/>
              </a:lnSpc>
              <a:buNone/>
              <a:defRPr sz="2800">
                <a:solidFill>
                  <a:srgbClr val="C5EDED"/>
                </a:solidFill>
                <a:latin typeface="Source Sans Pro Semibold" panose="020B0603030403020204" pitchFamily="34" charset="0"/>
              </a:defRPr>
            </a:lvl1pPr>
          </a:lstStyle>
          <a:p>
            <a:pPr lvl="0"/>
            <a:r>
              <a:rPr lang="de-DE"/>
              <a:t>00</a:t>
            </a:r>
          </a:p>
        </p:txBody>
      </p:sp>
      <p:sp>
        <p:nvSpPr>
          <p:cNvPr id="31" name="Textplatzhalter 19">
            <a:extLst>
              <a:ext uri="{FF2B5EF4-FFF2-40B4-BE49-F238E27FC236}">
                <a16:creationId xmlns:a16="http://schemas.microsoft.com/office/drawing/2014/main" id="{896A725E-BA01-41C2-9E55-B9EE588A1394}"/>
              </a:ext>
            </a:extLst>
          </p:cNvPr>
          <p:cNvSpPr>
            <a:spLocks noGrp="1"/>
          </p:cNvSpPr>
          <p:nvPr>
            <p:ph type="body" sz="quarter" idx="21"/>
          </p:nvPr>
        </p:nvSpPr>
        <p:spPr>
          <a:xfrm>
            <a:off x="1294296" y="3632603"/>
            <a:ext cx="4551062" cy="287660"/>
          </a:xfrm>
        </p:spPr>
        <p:txBody>
          <a:bodyPr/>
          <a:lstStyle>
            <a:lvl1pPr>
              <a:buNone/>
              <a:defRPr b="0">
                <a:solidFill>
                  <a:srgbClr val="C5EDED"/>
                </a:solidFill>
                <a:latin typeface="Source Sans Pro Semibold" panose="020B0603030403020204" pitchFamily="34" charset="0"/>
              </a:defRPr>
            </a:lvl1pPr>
          </a:lstStyle>
          <a:p>
            <a:pPr lvl="0"/>
            <a:r>
              <a:rPr lang="es-ES"/>
              <a:t>Haga clic para modificar los estilos de texto del patrón</a:t>
            </a:r>
          </a:p>
        </p:txBody>
      </p:sp>
      <p:sp>
        <p:nvSpPr>
          <p:cNvPr id="32" name="Textplatzhalter 17">
            <a:extLst>
              <a:ext uri="{FF2B5EF4-FFF2-40B4-BE49-F238E27FC236}">
                <a16:creationId xmlns:a16="http://schemas.microsoft.com/office/drawing/2014/main" id="{C21916A4-3A9E-4C87-98DC-F88F56746C62}"/>
              </a:ext>
            </a:extLst>
          </p:cNvPr>
          <p:cNvSpPr>
            <a:spLocks noGrp="1"/>
          </p:cNvSpPr>
          <p:nvPr>
            <p:ph type="body" sz="quarter" idx="22" hasCustomPrompt="1"/>
          </p:nvPr>
        </p:nvSpPr>
        <p:spPr>
          <a:xfrm>
            <a:off x="447051" y="4165053"/>
            <a:ext cx="648643" cy="432693"/>
          </a:xfrm>
        </p:spPr>
        <p:txBody>
          <a:bodyPr>
            <a:normAutofit/>
          </a:bodyPr>
          <a:lstStyle>
            <a:lvl1pPr algn="l">
              <a:lnSpc>
                <a:spcPct val="100000"/>
              </a:lnSpc>
              <a:buNone/>
              <a:defRPr sz="2800">
                <a:solidFill>
                  <a:srgbClr val="C5EDED"/>
                </a:solidFill>
                <a:latin typeface="Source Sans Pro Semibold" panose="020B0603030403020204" pitchFamily="34" charset="0"/>
              </a:defRPr>
            </a:lvl1pPr>
          </a:lstStyle>
          <a:p>
            <a:pPr lvl="0"/>
            <a:r>
              <a:rPr lang="de-DE"/>
              <a:t>00</a:t>
            </a:r>
          </a:p>
        </p:txBody>
      </p:sp>
      <p:sp>
        <p:nvSpPr>
          <p:cNvPr id="33" name="Textplatzhalter 19">
            <a:extLst>
              <a:ext uri="{FF2B5EF4-FFF2-40B4-BE49-F238E27FC236}">
                <a16:creationId xmlns:a16="http://schemas.microsoft.com/office/drawing/2014/main" id="{4B975F43-94C6-424F-A263-CFD89A2E0C41}"/>
              </a:ext>
            </a:extLst>
          </p:cNvPr>
          <p:cNvSpPr>
            <a:spLocks noGrp="1"/>
          </p:cNvSpPr>
          <p:nvPr>
            <p:ph type="body" sz="quarter" idx="23"/>
          </p:nvPr>
        </p:nvSpPr>
        <p:spPr>
          <a:xfrm>
            <a:off x="1294296" y="4289828"/>
            <a:ext cx="4551062" cy="287660"/>
          </a:xfrm>
        </p:spPr>
        <p:txBody>
          <a:bodyPr/>
          <a:lstStyle>
            <a:lvl1pPr>
              <a:buNone/>
              <a:defRPr b="0">
                <a:solidFill>
                  <a:srgbClr val="C5EDED"/>
                </a:solidFill>
                <a:latin typeface="Source Sans Pro Semibold" panose="020B0603030403020204" pitchFamily="34" charset="0"/>
              </a:defRPr>
            </a:lvl1pPr>
          </a:lstStyle>
          <a:p>
            <a:pPr lvl="0"/>
            <a:r>
              <a:rPr lang="es-ES"/>
              <a:t>Haga clic para modificar los estilos de texto del patrón</a:t>
            </a:r>
          </a:p>
        </p:txBody>
      </p:sp>
      <p:sp>
        <p:nvSpPr>
          <p:cNvPr id="34" name="Textplatzhalter 17">
            <a:extLst>
              <a:ext uri="{FF2B5EF4-FFF2-40B4-BE49-F238E27FC236}">
                <a16:creationId xmlns:a16="http://schemas.microsoft.com/office/drawing/2014/main" id="{38C0F98C-1BAE-47B3-88B8-08DE9B446EB5}"/>
              </a:ext>
            </a:extLst>
          </p:cNvPr>
          <p:cNvSpPr>
            <a:spLocks noGrp="1"/>
          </p:cNvSpPr>
          <p:nvPr>
            <p:ph type="body" sz="quarter" idx="24" hasCustomPrompt="1"/>
          </p:nvPr>
        </p:nvSpPr>
        <p:spPr>
          <a:xfrm>
            <a:off x="447051" y="4822278"/>
            <a:ext cx="648643" cy="432693"/>
          </a:xfrm>
        </p:spPr>
        <p:txBody>
          <a:bodyPr>
            <a:normAutofit/>
          </a:bodyPr>
          <a:lstStyle>
            <a:lvl1pPr algn="l">
              <a:lnSpc>
                <a:spcPct val="100000"/>
              </a:lnSpc>
              <a:buNone/>
              <a:defRPr sz="2800">
                <a:solidFill>
                  <a:srgbClr val="C5EDED"/>
                </a:solidFill>
                <a:latin typeface="Source Sans Pro Semibold" panose="020B0603030403020204" pitchFamily="34" charset="0"/>
              </a:defRPr>
            </a:lvl1pPr>
          </a:lstStyle>
          <a:p>
            <a:pPr lvl="0"/>
            <a:r>
              <a:rPr lang="de-DE"/>
              <a:t>00</a:t>
            </a:r>
          </a:p>
        </p:txBody>
      </p:sp>
      <p:sp>
        <p:nvSpPr>
          <p:cNvPr id="35" name="Textplatzhalter 19">
            <a:extLst>
              <a:ext uri="{FF2B5EF4-FFF2-40B4-BE49-F238E27FC236}">
                <a16:creationId xmlns:a16="http://schemas.microsoft.com/office/drawing/2014/main" id="{E099138A-A8F1-41F2-A7E0-C2F650F34E44}"/>
              </a:ext>
            </a:extLst>
          </p:cNvPr>
          <p:cNvSpPr>
            <a:spLocks noGrp="1"/>
          </p:cNvSpPr>
          <p:nvPr>
            <p:ph type="body" sz="quarter" idx="25"/>
          </p:nvPr>
        </p:nvSpPr>
        <p:spPr>
          <a:xfrm>
            <a:off x="1294296" y="4947053"/>
            <a:ext cx="4551062" cy="287660"/>
          </a:xfrm>
        </p:spPr>
        <p:txBody>
          <a:bodyPr/>
          <a:lstStyle>
            <a:lvl1pPr>
              <a:buNone/>
              <a:defRPr b="0">
                <a:solidFill>
                  <a:srgbClr val="C5EDED"/>
                </a:solidFill>
                <a:latin typeface="Source Sans Pro Semibold" panose="020B0603030403020204" pitchFamily="34" charset="0"/>
              </a:defRPr>
            </a:lvl1pPr>
          </a:lstStyle>
          <a:p>
            <a:pPr lvl="0"/>
            <a:r>
              <a:rPr lang="es-ES"/>
              <a:t>Haga clic para modificar los estilos de texto del patrón</a:t>
            </a:r>
          </a:p>
        </p:txBody>
      </p:sp>
      <p:sp>
        <p:nvSpPr>
          <p:cNvPr id="3" name="Datumsplatzhalter 2">
            <a:extLst>
              <a:ext uri="{FF2B5EF4-FFF2-40B4-BE49-F238E27FC236}">
                <a16:creationId xmlns:a16="http://schemas.microsoft.com/office/drawing/2014/main" id="{12818C58-1E8B-413B-86F9-61D5383DC6C1}"/>
              </a:ext>
            </a:extLst>
          </p:cNvPr>
          <p:cNvSpPr>
            <a:spLocks noGrp="1"/>
          </p:cNvSpPr>
          <p:nvPr>
            <p:ph type="dt" sz="half" idx="10"/>
          </p:nvPr>
        </p:nvSpPr>
        <p:spPr/>
        <p:txBody>
          <a:bodyPr/>
          <a:lstStyle>
            <a:lvl1pPr>
              <a:defRPr>
                <a:solidFill>
                  <a:schemeClr val="bg1"/>
                </a:solidFill>
              </a:defRPr>
            </a:lvl1pPr>
          </a:lstStyle>
          <a:p>
            <a:fld id="{333AFCEB-1D3D-473D-BC97-AC636A2C95A2}" type="datetime1">
              <a:rPr lang="de-DE" smtClean="0"/>
              <a:pPr/>
              <a:t>05.11.2024</a:t>
            </a:fld>
            <a:endParaRPr lang="de-DE"/>
          </a:p>
        </p:txBody>
      </p:sp>
      <p:sp>
        <p:nvSpPr>
          <p:cNvPr id="4" name="Fußzeilenplatzhalter 3">
            <a:extLst>
              <a:ext uri="{FF2B5EF4-FFF2-40B4-BE49-F238E27FC236}">
                <a16:creationId xmlns:a16="http://schemas.microsoft.com/office/drawing/2014/main" id="{65187C2C-9258-4949-A2BA-C9B426FF1237}"/>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8358D593-9659-47B3-B291-03EC3DADB097}"/>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Tree>
    <p:extLst>
      <p:ext uri="{BB962C8B-B14F-4D97-AF65-F5344CB8AC3E}">
        <p14:creationId xmlns:p14="http://schemas.microsoft.com/office/powerpoint/2010/main" val="40144501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fld id="{67DE3C4C-F4D1-46AF-B95D-0DCCC190020A}" type="datetimeFigureOut">
              <a:rPr lang="es-MX" smtClean="0"/>
              <a:t>05/11/2024</a:t>
            </a:fld>
            <a:endParaRPr lang="es-MX"/>
          </a:p>
        </p:txBody>
      </p:sp>
      <p:sp>
        <p:nvSpPr>
          <p:cNvPr id="6" name="Marcador de pie de página 5"/>
          <p:cNvSpPr>
            <a:spLocks noGrp="1"/>
          </p:cNvSpPr>
          <p:nvPr>
            <p:ph type="ftr" sz="quarter" idx="11"/>
          </p:nvPr>
        </p:nvSpPr>
        <p:spPr/>
        <p:txBody>
          <a:bodyPr/>
          <a:lstStyle/>
          <a:p>
            <a:endParaRPr lang="es-MX"/>
          </a:p>
        </p:txBody>
      </p:sp>
      <p:sp>
        <p:nvSpPr>
          <p:cNvPr id="7" name="Marcador de número de diapositiva 6"/>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23759812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MX"/>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p:cNvSpPr>
            <a:spLocks noGrp="1"/>
          </p:cNvSpPr>
          <p:nvPr>
            <p:ph type="dt" sz="half" idx="10"/>
          </p:nvPr>
        </p:nvSpPr>
        <p:spPr/>
        <p:txBody>
          <a:bodyPr/>
          <a:lstStyle/>
          <a:p>
            <a:fld id="{67DE3C4C-F4D1-46AF-B95D-0DCCC190020A}" type="datetimeFigureOut">
              <a:rPr lang="es-MX" smtClean="0"/>
              <a:t>05/11/2024</a:t>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31412732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MX"/>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p:cNvSpPr>
            <a:spLocks noGrp="1"/>
          </p:cNvSpPr>
          <p:nvPr>
            <p:ph type="dt" sz="half" idx="10"/>
          </p:nvPr>
        </p:nvSpPr>
        <p:spPr/>
        <p:txBody>
          <a:bodyPr/>
          <a:lstStyle/>
          <a:p>
            <a:fld id="{67DE3C4C-F4D1-46AF-B95D-0DCCC190020A}" type="datetimeFigureOut">
              <a:rPr lang="es-MX" smtClean="0"/>
              <a:t>05/11/2024</a:t>
            </a:fld>
            <a:endParaRPr lang="es-MX"/>
          </a:p>
        </p:txBody>
      </p:sp>
      <p:sp>
        <p:nvSpPr>
          <p:cNvPr id="5" name="Marcador de pie de página 4"/>
          <p:cNvSpPr>
            <a:spLocks noGrp="1"/>
          </p:cNvSpPr>
          <p:nvPr>
            <p:ph type="ftr" sz="quarter" idx="11"/>
          </p:nvPr>
        </p:nvSpPr>
        <p:spPr/>
        <p:txBody>
          <a:bodyPr/>
          <a:lstStyle/>
          <a:p>
            <a:endParaRPr lang="es-MX"/>
          </a:p>
        </p:txBody>
      </p:sp>
      <p:sp>
        <p:nvSpPr>
          <p:cNvPr id="6" name="Marcador de número de diapositiva 5"/>
          <p:cNvSpPr>
            <a:spLocks noGrp="1"/>
          </p:cNvSpPr>
          <p:nvPr>
            <p:ph type="sldNum" sz="quarter" idx="12"/>
          </p:nvPr>
        </p:nvSpPr>
        <p:spPr/>
        <p:txBody>
          <a:bodyPr/>
          <a:lstStyle/>
          <a:p>
            <a:fld id="{79AA43FB-E0E3-444F-8C8A-62B357861621}" type="slidenum">
              <a:rPr lang="es-MX" smtClean="0"/>
              <a:t>‹Nº›</a:t>
            </a:fld>
            <a:endParaRPr lang="es-MX"/>
          </a:p>
        </p:txBody>
      </p:sp>
    </p:spTree>
    <p:extLst>
      <p:ext uri="{BB962C8B-B14F-4D97-AF65-F5344CB8AC3E}">
        <p14:creationId xmlns:p14="http://schemas.microsoft.com/office/powerpoint/2010/main" val="18936147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AC23A54-A232-84BF-D671-1B5723212005}"/>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MX"/>
          </a:p>
        </p:txBody>
      </p:sp>
      <p:sp>
        <p:nvSpPr>
          <p:cNvPr id="3" name="Subtítulo 2">
            <a:extLst>
              <a:ext uri="{FF2B5EF4-FFF2-40B4-BE49-F238E27FC236}">
                <a16:creationId xmlns:a16="http://schemas.microsoft.com/office/drawing/2014/main" id="{5C1D41C0-D080-BF5E-CF07-53113464904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MX"/>
          </a:p>
        </p:txBody>
      </p:sp>
      <p:sp>
        <p:nvSpPr>
          <p:cNvPr id="4" name="Marcador de fecha 3">
            <a:extLst>
              <a:ext uri="{FF2B5EF4-FFF2-40B4-BE49-F238E27FC236}">
                <a16:creationId xmlns:a16="http://schemas.microsoft.com/office/drawing/2014/main" id="{98DEFE3C-028B-CC09-83C0-79F2D12C7059}"/>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5" name="Marcador de pie de página 4">
            <a:extLst>
              <a:ext uri="{FF2B5EF4-FFF2-40B4-BE49-F238E27FC236}">
                <a16:creationId xmlns:a16="http://schemas.microsoft.com/office/drawing/2014/main" id="{5BEB4FD4-8424-FADC-A24D-8BB19B201BAC}"/>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30CD005D-6151-75CA-E1DB-3CDBBBFED52C}"/>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25958479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E755B41-B0E7-E488-755C-645F2E42F333}"/>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BE0A566C-28FA-22B2-633D-0FCCC513D5B8}"/>
              </a:ext>
            </a:extLst>
          </p:cNvPr>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8406F019-15BC-8961-45A5-F1599015A23A}"/>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5" name="Marcador de pie de página 4">
            <a:extLst>
              <a:ext uri="{FF2B5EF4-FFF2-40B4-BE49-F238E27FC236}">
                <a16:creationId xmlns:a16="http://schemas.microsoft.com/office/drawing/2014/main" id="{C8160E0D-C1FE-DA87-9757-C73F2479490E}"/>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87182C4B-699F-793E-0615-1DC79064E6ED}"/>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19827635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BC4E2F3-8817-E692-4B3C-F4297AD354EE}"/>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BBC39430-373E-D7BC-D3ED-A96C1C0E5C5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a:extLst>
              <a:ext uri="{FF2B5EF4-FFF2-40B4-BE49-F238E27FC236}">
                <a16:creationId xmlns:a16="http://schemas.microsoft.com/office/drawing/2014/main" id="{AEA65B46-A2EE-8032-A352-07B2323CC994}"/>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5" name="Marcador de pie de página 4">
            <a:extLst>
              <a:ext uri="{FF2B5EF4-FFF2-40B4-BE49-F238E27FC236}">
                <a16:creationId xmlns:a16="http://schemas.microsoft.com/office/drawing/2014/main" id="{B60CB414-B54D-FEA4-3019-9B4D86BEF990}"/>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6199C4FB-07B5-371A-4BFB-37EA66BB9902}"/>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26038697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A15BDB0-E3C8-AC95-BA39-DBF9EE425C78}"/>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B4FD0740-CAF9-B2D0-9650-837FD4AA7654}"/>
              </a:ext>
            </a:extLst>
          </p:cNvPr>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contenido 3">
            <a:extLst>
              <a:ext uri="{FF2B5EF4-FFF2-40B4-BE49-F238E27FC236}">
                <a16:creationId xmlns:a16="http://schemas.microsoft.com/office/drawing/2014/main" id="{6173FC8F-B2BB-AA77-7CD5-39F785848F06}"/>
              </a:ext>
            </a:extLst>
          </p:cNvPr>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fecha 4">
            <a:extLst>
              <a:ext uri="{FF2B5EF4-FFF2-40B4-BE49-F238E27FC236}">
                <a16:creationId xmlns:a16="http://schemas.microsoft.com/office/drawing/2014/main" id="{7D619BE7-D741-7DDA-36EF-73808EE21A61}"/>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6" name="Marcador de pie de página 5">
            <a:extLst>
              <a:ext uri="{FF2B5EF4-FFF2-40B4-BE49-F238E27FC236}">
                <a16:creationId xmlns:a16="http://schemas.microsoft.com/office/drawing/2014/main" id="{399F5CD5-C341-44E3-5513-84FA373E0867}"/>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446D0D2F-0BDA-C37D-ED4F-B2C476288AA1}"/>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12862006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B2F6C6-8E24-334B-01CB-B5B37374C3BA}"/>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70FE7792-ABBC-005C-1F95-A9D541177BA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a:extLst>
              <a:ext uri="{FF2B5EF4-FFF2-40B4-BE49-F238E27FC236}">
                <a16:creationId xmlns:a16="http://schemas.microsoft.com/office/drawing/2014/main" id="{EBC7E6F5-5A80-C9F6-5880-DBBC4AFFE046}"/>
              </a:ext>
            </a:extLst>
          </p:cNvPr>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texto 4">
            <a:extLst>
              <a:ext uri="{FF2B5EF4-FFF2-40B4-BE49-F238E27FC236}">
                <a16:creationId xmlns:a16="http://schemas.microsoft.com/office/drawing/2014/main" id="{DAD98AE5-CC12-29BD-AF6B-4A7DE1A7380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a:extLst>
              <a:ext uri="{FF2B5EF4-FFF2-40B4-BE49-F238E27FC236}">
                <a16:creationId xmlns:a16="http://schemas.microsoft.com/office/drawing/2014/main" id="{EB6D0EDE-CC42-55D5-E597-A0780BCFD901}"/>
              </a:ext>
            </a:extLst>
          </p:cNvPr>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7" name="Marcador de fecha 6">
            <a:extLst>
              <a:ext uri="{FF2B5EF4-FFF2-40B4-BE49-F238E27FC236}">
                <a16:creationId xmlns:a16="http://schemas.microsoft.com/office/drawing/2014/main" id="{860270D3-56BD-1FC7-5504-FAEB1B05D7E5}"/>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8" name="Marcador de pie de página 7">
            <a:extLst>
              <a:ext uri="{FF2B5EF4-FFF2-40B4-BE49-F238E27FC236}">
                <a16:creationId xmlns:a16="http://schemas.microsoft.com/office/drawing/2014/main" id="{DB2CC334-53E0-8C8E-8D2B-8A5EBA386A1C}"/>
              </a:ext>
            </a:extLst>
          </p:cNvPr>
          <p:cNvSpPr>
            <a:spLocks noGrp="1"/>
          </p:cNvSpPr>
          <p:nvPr>
            <p:ph type="ftr" sz="quarter" idx="11"/>
          </p:nvPr>
        </p:nvSpPr>
        <p:spPr/>
        <p:txBody>
          <a:bodyPr/>
          <a:lstStyle/>
          <a:p>
            <a:endParaRPr lang="es-MX"/>
          </a:p>
        </p:txBody>
      </p:sp>
      <p:sp>
        <p:nvSpPr>
          <p:cNvPr id="9" name="Marcador de número de diapositiva 8">
            <a:extLst>
              <a:ext uri="{FF2B5EF4-FFF2-40B4-BE49-F238E27FC236}">
                <a16:creationId xmlns:a16="http://schemas.microsoft.com/office/drawing/2014/main" id="{02D530C9-C495-8312-A0AC-7457F23B703E}"/>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29196140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6187370-3D67-8DF6-BBF2-DD22F09A19F8}"/>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fecha 2">
            <a:extLst>
              <a:ext uri="{FF2B5EF4-FFF2-40B4-BE49-F238E27FC236}">
                <a16:creationId xmlns:a16="http://schemas.microsoft.com/office/drawing/2014/main" id="{0C2FD398-3DF8-F67B-6BB4-BDDCD6C5AB05}"/>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4" name="Marcador de pie de página 3">
            <a:extLst>
              <a:ext uri="{FF2B5EF4-FFF2-40B4-BE49-F238E27FC236}">
                <a16:creationId xmlns:a16="http://schemas.microsoft.com/office/drawing/2014/main" id="{299B8BA7-6D30-6AA1-7FF8-8C3F6FBAC895}"/>
              </a:ext>
            </a:extLst>
          </p:cNvPr>
          <p:cNvSpPr>
            <a:spLocks noGrp="1"/>
          </p:cNvSpPr>
          <p:nvPr>
            <p:ph type="ftr" sz="quarter" idx="11"/>
          </p:nvPr>
        </p:nvSpPr>
        <p:spPr/>
        <p:txBody>
          <a:bodyPr/>
          <a:lstStyle/>
          <a:p>
            <a:endParaRPr lang="es-MX"/>
          </a:p>
        </p:txBody>
      </p:sp>
      <p:sp>
        <p:nvSpPr>
          <p:cNvPr id="5" name="Marcador de número de diapositiva 4">
            <a:extLst>
              <a:ext uri="{FF2B5EF4-FFF2-40B4-BE49-F238E27FC236}">
                <a16:creationId xmlns:a16="http://schemas.microsoft.com/office/drawing/2014/main" id="{122C9E91-5715-5246-EBC3-3A8E20B154ED}"/>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30579979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9CF5CEB-2D4A-725B-6640-7EC56DC33027}"/>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3" name="Marcador de pie de página 2">
            <a:extLst>
              <a:ext uri="{FF2B5EF4-FFF2-40B4-BE49-F238E27FC236}">
                <a16:creationId xmlns:a16="http://schemas.microsoft.com/office/drawing/2014/main" id="{2DB65847-5101-8C65-D5BE-2CCB13A95F81}"/>
              </a:ext>
            </a:extLst>
          </p:cNvPr>
          <p:cNvSpPr>
            <a:spLocks noGrp="1"/>
          </p:cNvSpPr>
          <p:nvPr>
            <p:ph type="ftr" sz="quarter" idx="11"/>
          </p:nvPr>
        </p:nvSpPr>
        <p:spPr/>
        <p:txBody>
          <a:bodyPr/>
          <a:lstStyle/>
          <a:p>
            <a:endParaRPr lang="es-MX"/>
          </a:p>
        </p:txBody>
      </p:sp>
      <p:sp>
        <p:nvSpPr>
          <p:cNvPr id="4" name="Marcador de número de diapositiva 3">
            <a:extLst>
              <a:ext uri="{FF2B5EF4-FFF2-40B4-BE49-F238E27FC236}">
                <a16:creationId xmlns:a16="http://schemas.microsoft.com/office/drawing/2014/main" id="{CDCC58CD-23C3-A9BB-C24F-A3FE348DC9A7}"/>
              </a:ext>
            </a:extLst>
          </p:cNvPr>
          <p:cNvSpPr>
            <a:spLocks noGrp="1"/>
          </p:cNvSpPr>
          <p:nvPr>
            <p:ph type="sldNum" sz="quarter" idx="12"/>
          </p:nvPr>
        </p:nvSpPr>
        <p:spPr/>
        <p:txBody>
          <a:bodyPr/>
          <a:lstStyle/>
          <a:p>
            <a:fld id="{317D4F49-43CD-43C2-A0F5-C2D7C373BC3A}" type="slidenum">
              <a:rPr lang="es-MX" smtClean="0"/>
              <a:t>‹Nº›</a:t>
            </a:fld>
            <a:endParaRPr lang="es-MX"/>
          </a:p>
        </p:txBody>
      </p:sp>
      <p:pic>
        <p:nvPicPr>
          <p:cNvPr id="5" name="Google Shape;24;p7" descr="Imagen que contiene objeto, reloj, dibujo&#10;&#10;Descripción generada automáticamente"/>
          <p:cNvPicPr preferRelativeResize="0"/>
          <p:nvPr userDrawn="1"/>
        </p:nvPicPr>
        <p:blipFill rotWithShape="1">
          <a:blip r:embed="rId2">
            <a:alphaModFix/>
          </a:blip>
          <a:srcRect/>
          <a:stretch/>
        </p:blipFill>
        <p:spPr>
          <a:xfrm>
            <a:off x="8417090" y="197802"/>
            <a:ext cx="2198069" cy="517707"/>
          </a:xfrm>
          <a:prstGeom prst="rect">
            <a:avLst/>
          </a:prstGeom>
          <a:noFill/>
          <a:ln>
            <a:noFill/>
          </a:ln>
        </p:spPr>
      </p:pic>
      <p:pic>
        <p:nvPicPr>
          <p:cNvPr id="6" name="Google Shape;26;p7"/>
          <p:cNvPicPr preferRelativeResize="0"/>
          <p:nvPr userDrawn="1"/>
        </p:nvPicPr>
        <p:blipFill rotWithShape="1">
          <a:blip r:embed="rId3">
            <a:alphaModFix/>
          </a:blip>
          <a:srcRect/>
          <a:stretch/>
        </p:blipFill>
        <p:spPr>
          <a:xfrm>
            <a:off x="7024463" y="6058619"/>
            <a:ext cx="5215277" cy="720000"/>
          </a:xfrm>
          <a:prstGeom prst="rect">
            <a:avLst/>
          </a:prstGeom>
          <a:noFill/>
          <a:ln>
            <a:noFill/>
          </a:ln>
        </p:spPr>
      </p:pic>
      <p:pic>
        <p:nvPicPr>
          <p:cNvPr id="7" name="Imagen 6"/>
          <p:cNvPicPr>
            <a:picLocks noChangeAspect="1"/>
          </p:cNvPicPr>
          <p:nvPr userDrawn="1"/>
        </p:nvPicPr>
        <p:blipFill rotWithShape="1">
          <a:blip r:embed="rId4" cstate="hqprint">
            <a:extLst>
              <a:ext uri="{28A0092B-C50C-407E-A947-70E740481C1C}">
                <a14:useLocalDpi xmlns:a14="http://schemas.microsoft.com/office/drawing/2010/main" val="0"/>
              </a:ext>
            </a:extLst>
          </a:blip>
          <a:srcRect r="47408"/>
          <a:stretch/>
        </p:blipFill>
        <p:spPr>
          <a:xfrm>
            <a:off x="10710715" y="197802"/>
            <a:ext cx="1128860" cy="493524"/>
          </a:xfrm>
          <a:prstGeom prst="rect">
            <a:avLst/>
          </a:prstGeom>
        </p:spPr>
      </p:pic>
    </p:spTree>
    <p:extLst>
      <p:ext uri="{BB962C8B-B14F-4D97-AF65-F5344CB8AC3E}">
        <p14:creationId xmlns:p14="http://schemas.microsoft.com/office/powerpoint/2010/main" val="20108684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CA7FE2-AAED-4E85-B02D-8A2EB01141FB}"/>
              </a:ext>
            </a:extLst>
          </p:cNvPr>
          <p:cNvSpPr>
            <a:spLocks noGrp="1"/>
          </p:cNvSpPr>
          <p:nvPr>
            <p:ph type="title"/>
          </p:nvPr>
        </p:nvSpPr>
        <p:spPr/>
        <p:txBody>
          <a:bodyPr/>
          <a:lstStyle>
            <a:lvl1pPr>
              <a:defRPr>
                <a:solidFill>
                  <a:schemeClr val="tx1"/>
                </a:solidFill>
              </a:defRPr>
            </a:lvl1pPr>
          </a:lstStyle>
          <a:p>
            <a:r>
              <a:rPr lang="es-ES"/>
              <a:t>Haga clic para modificar el estilo de título del patrón</a:t>
            </a:r>
            <a:endParaRPr lang="de-DE"/>
          </a:p>
        </p:txBody>
      </p:sp>
      <p:sp>
        <p:nvSpPr>
          <p:cNvPr id="16" name="Bildplatzhalter 15">
            <a:extLst>
              <a:ext uri="{FF2B5EF4-FFF2-40B4-BE49-F238E27FC236}">
                <a16:creationId xmlns:a16="http://schemas.microsoft.com/office/drawing/2014/main" id="{57216137-0F65-4808-878D-19ECF3BD5B81}"/>
              </a:ext>
            </a:extLst>
          </p:cNvPr>
          <p:cNvSpPr>
            <a:spLocks noGrp="1"/>
          </p:cNvSpPr>
          <p:nvPr>
            <p:ph type="pic" sz="quarter" idx="13" hasCustomPrompt="1"/>
          </p:nvPr>
        </p:nvSpPr>
        <p:spPr>
          <a:xfrm>
            <a:off x="5845358" y="-6501"/>
            <a:ext cx="6346642" cy="6864503"/>
          </a:xfrm>
          <a:custGeom>
            <a:avLst/>
            <a:gdLst>
              <a:gd name="connsiteX0" fmla="*/ 6346642 w 6346642"/>
              <a:gd name="connsiteY0" fmla="*/ 0 h 6864503"/>
              <a:gd name="connsiteX1" fmla="*/ 6346642 w 6346642"/>
              <a:gd name="connsiteY1" fmla="*/ 6864503 h 6864503"/>
              <a:gd name="connsiteX2" fmla="*/ 0 w 6346642"/>
              <a:gd name="connsiteY2" fmla="*/ 6864503 h 6864503"/>
              <a:gd name="connsiteX3" fmla="*/ 1491929 w 6346642"/>
              <a:gd name="connsiteY3" fmla="*/ 1557007 h 6864503"/>
            </a:gdLst>
            <a:ahLst/>
            <a:cxnLst>
              <a:cxn ang="0">
                <a:pos x="connsiteX0" y="connsiteY0"/>
              </a:cxn>
              <a:cxn ang="0">
                <a:pos x="connsiteX1" y="connsiteY1"/>
              </a:cxn>
              <a:cxn ang="0">
                <a:pos x="connsiteX2" y="connsiteY2"/>
              </a:cxn>
              <a:cxn ang="0">
                <a:pos x="connsiteX3" y="connsiteY3"/>
              </a:cxn>
            </a:cxnLst>
            <a:rect l="l" t="t" r="r" b="b"/>
            <a:pathLst>
              <a:path w="6346642" h="6864503">
                <a:moveTo>
                  <a:pt x="6346642" y="0"/>
                </a:moveTo>
                <a:lnTo>
                  <a:pt x="6346642" y="6864503"/>
                </a:lnTo>
                <a:lnTo>
                  <a:pt x="0" y="6864503"/>
                </a:lnTo>
                <a:lnTo>
                  <a:pt x="1491929" y="1557007"/>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18" name="Textplatzhalter 17">
            <a:extLst>
              <a:ext uri="{FF2B5EF4-FFF2-40B4-BE49-F238E27FC236}">
                <a16:creationId xmlns:a16="http://schemas.microsoft.com/office/drawing/2014/main" id="{9FE3EF79-39CF-4649-B383-6BC4848F7792}"/>
              </a:ext>
            </a:extLst>
          </p:cNvPr>
          <p:cNvSpPr>
            <a:spLocks noGrp="1"/>
          </p:cNvSpPr>
          <p:nvPr>
            <p:ph type="body" sz="quarter" idx="14" hasCustomPrompt="1"/>
          </p:nvPr>
        </p:nvSpPr>
        <p:spPr>
          <a:xfrm>
            <a:off x="447051" y="1536153"/>
            <a:ext cx="648643" cy="432693"/>
          </a:xfrm>
        </p:spPr>
        <p:txBody>
          <a:bodyPr>
            <a:normAutofit/>
          </a:bodyPr>
          <a:lstStyle>
            <a:lvl1pPr algn="l">
              <a:lnSpc>
                <a:spcPct val="100000"/>
              </a:lnSpc>
              <a:buNone/>
              <a:defRPr sz="2800">
                <a:solidFill>
                  <a:schemeClr val="tx1"/>
                </a:solidFill>
                <a:latin typeface="Source Sans Pro Semibold" panose="020B0603030403020204" pitchFamily="34" charset="0"/>
              </a:defRPr>
            </a:lvl1pPr>
          </a:lstStyle>
          <a:p>
            <a:pPr lvl="0"/>
            <a:r>
              <a:rPr lang="de-DE"/>
              <a:t>00</a:t>
            </a:r>
          </a:p>
        </p:txBody>
      </p:sp>
      <p:sp>
        <p:nvSpPr>
          <p:cNvPr id="20" name="Textplatzhalter 19">
            <a:extLst>
              <a:ext uri="{FF2B5EF4-FFF2-40B4-BE49-F238E27FC236}">
                <a16:creationId xmlns:a16="http://schemas.microsoft.com/office/drawing/2014/main" id="{4470B9B3-5A4E-4C21-A1F1-11F005EC8034}"/>
              </a:ext>
            </a:extLst>
          </p:cNvPr>
          <p:cNvSpPr>
            <a:spLocks noGrp="1"/>
          </p:cNvSpPr>
          <p:nvPr>
            <p:ph type="body" sz="quarter" idx="15"/>
          </p:nvPr>
        </p:nvSpPr>
        <p:spPr>
          <a:xfrm>
            <a:off x="1294296" y="1660928"/>
            <a:ext cx="4551062" cy="287660"/>
          </a:xfrm>
        </p:spPr>
        <p:txBody>
          <a:bodyPr/>
          <a:lstStyle>
            <a:lvl1pPr>
              <a:buNone/>
              <a:defRPr b="0">
                <a:solidFill>
                  <a:schemeClr val="tx1"/>
                </a:solidFill>
                <a:latin typeface="Source Sans Pro Semibold" panose="020B0603030403020204" pitchFamily="34" charset="0"/>
              </a:defRPr>
            </a:lvl1pPr>
          </a:lstStyle>
          <a:p>
            <a:pPr lvl="0"/>
            <a:r>
              <a:rPr lang="es-ES"/>
              <a:t>Haga clic para modificar los estilos de texto del patrón</a:t>
            </a:r>
          </a:p>
        </p:txBody>
      </p:sp>
      <p:sp>
        <p:nvSpPr>
          <p:cNvPr id="26" name="Textplatzhalter 17">
            <a:extLst>
              <a:ext uri="{FF2B5EF4-FFF2-40B4-BE49-F238E27FC236}">
                <a16:creationId xmlns:a16="http://schemas.microsoft.com/office/drawing/2014/main" id="{8CFDD6EF-72A7-423C-A37E-B6C4D5448888}"/>
              </a:ext>
            </a:extLst>
          </p:cNvPr>
          <p:cNvSpPr>
            <a:spLocks noGrp="1"/>
          </p:cNvSpPr>
          <p:nvPr>
            <p:ph type="body" sz="quarter" idx="16" hasCustomPrompt="1"/>
          </p:nvPr>
        </p:nvSpPr>
        <p:spPr>
          <a:xfrm>
            <a:off x="447051" y="2193378"/>
            <a:ext cx="648643" cy="432693"/>
          </a:xfrm>
        </p:spPr>
        <p:txBody>
          <a:bodyPr>
            <a:normAutofit/>
          </a:bodyPr>
          <a:lstStyle>
            <a:lvl1pPr algn="l">
              <a:lnSpc>
                <a:spcPct val="100000"/>
              </a:lnSpc>
              <a:buNone/>
              <a:defRPr sz="2800">
                <a:solidFill>
                  <a:schemeClr val="tx1"/>
                </a:solidFill>
                <a:latin typeface="Source Sans Pro Semibold" panose="020B0603030403020204" pitchFamily="34" charset="0"/>
              </a:defRPr>
            </a:lvl1pPr>
          </a:lstStyle>
          <a:p>
            <a:pPr lvl="0"/>
            <a:r>
              <a:rPr lang="de-DE"/>
              <a:t>00</a:t>
            </a:r>
          </a:p>
        </p:txBody>
      </p:sp>
      <p:sp>
        <p:nvSpPr>
          <p:cNvPr id="27" name="Textplatzhalter 19">
            <a:extLst>
              <a:ext uri="{FF2B5EF4-FFF2-40B4-BE49-F238E27FC236}">
                <a16:creationId xmlns:a16="http://schemas.microsoft.com/office/drawing/2014/main" id="{2FB888D4-9CAF-4AD8-97D1-CA4AD24E496B}"/>
              </a:ext>
            </a:extLst>
          </p:cNvPr>
          <p:cNvSpPr>
            <a:spLocks noGrp="1"/>
          </p:cNvSpPr>
          <p:nvPr>
            <p:ph type="body" sz="quarter" idx="17"/>
          </p:nvPr>
        </p:nvSpPr>
        <p:spPr>
          <a:xfrm>
            <a:off x="1294296" y="2318153"/>
            <a:ext cx="4551062" cy="287660"/>
          </a:xfrm>
        </p:spPr>
        <p:txBody>
          <a:bodyPr/>
          <a:lstStyle>
            <a:lvl1pPr>
              <a:buNone/>
              <a:defRPr b="0">
                <a:solidFill>
                  <a:schemeClr val="tx1"/>
                </a:solidFill>
                <a:latin typeface="Source Sans Pro Semibold" panose="020B0603030403020204" pitchFamily="34" charset="0"/>
              </a:defRPr>
            </a:lvl1pPr>
          </a:lstStyle>
          <a:p>
            <a:pPr lvl="0"/>
            <a:r>
              <a:rPr lang="es-ES"/>
              <a:t>Haga clic para modificar los estilos de texto del patrón</a:t>
            </a:r>
          </a:p>
        </p:txBody>
      </p:sp>
      <p:sp>
        <p:nvSpPr>
          <p:cNvPr id="28" name="Textplatzhalter 17">
            <a:extLst>
              <a:ext uri="{FF2B5EF4-FFF2-40B4-BE49-F238E27FC236}">
                <a16:creationId xmlns:a16="http://schemas.microsoft.com/office/drawing/2014/main" id="{2BE4328F-B4C6-474D-96DF-3961A626D744}"/>
              </a:ext>
            </a:extLst>
          </p:cNvPr>
          <p:cNvSpPr>
            <a:spLocks noGrp="1"/>
          </p:cNvSpPr>
          <p:nvPr>
            <p:ph type="body" sz="quarter" idx="18" hasCustomPrompt="1"/>
          </p:nvPr>
        </p:nvSpPr>
        <p:spPr>
          <a:xfrm>
            <a:off x="447051" y="2850603"/>
            <a:ext cx="648643" cy="432693"/>
          </a:xfrm>
        </p:spPr>
        <p:txBody>
          <a:bodyPr>
            <a:normAutofit/>
          </a:bodyPr>
          <a:lstStyle>
            <a:lvl1pPr algn="l">
              <a:lnSpc>
                <a:spcPct val="100000"/>
              </a:lnSpc>
              <a:buNone/>
              <a:defRPr sz="2800">
                <a:solidFill>
                  <a:schemeClr val="tx1"/>
                </a:solidFill>
                <a:latin typeface="Source Sans Pro Semibold" panose="020B0603030403020204" pitchFamily="34" charset="0"/>
              </a:defRPr>
            </a:lvl1pPr>
          </a:lstStyle>
          <a:p>
            <a:pPr lvl="0"/>
            <a:r>
              <a:rPr lang="de-DE"/>
              <a:t>00</a:t>
            </a:r>
          </a:p>
        </p:txBody>
      </p:sp>
      <p:sp>
        <p:nvSpPr>
          <p:cNvPr id="29" name="Textplatzhalter 19">
            <a:extLst>
              <a:ext uri="{FF2B5EF4-FFF2-40B4-BE49-F238E27FC236}">
                <a16:creationId xmlns:a16="http://schemas.microsoft.com/office/drawing/2014/main" id="{FB88DB02-85D0-4EDE-A835-568E1138D5B2}"/>
              </a:ext>
            </a:extLst>
          </p:cNvPr>
          <p:cNvSpPr>
            <a:spLocks noGrp="1"/>
          </p:cNvSpPr>
          <p:nvPr>
            <p:ph type="body" sz="quarter" idx="19"/>
          </p:nvPr>
        </p:nvSpPr>
        <p:spPr>
          <a:xfrm>
            <a:off x="1294296" y="2975378"/>
            <a:ext cx="4551062" cy="287660"/>
          </a:xfrm>
        </p:spPr>
        <p:txBody>
          <a:bodyPr/>
          <a:lstStyle>
            <a:lvl1pPr>
              <a:buNone/>
              <a:defRPr b="0">
                <a:solidFill>
                  <a:schemeClr val="tx1"/>
                </a:solidFill>
                <a:latin typeface="Source Sans Pro Semibold" panose="020B0603030403020204" pitchFamily="34" charset="0"/>
              </a:defRPr>
            </a:lvl1pPr>
          </a:lstStyle>
          <a:p>
            <a:pPr lvl="0"/>
            <a:r>
              <a:rPr lang="es-ES"/>
              <a:t>Haga clic para modificar los estilos de texto del patrón</a:t>
            </a:r>
          </a:p>
        </p:txBody>
      </p:sp>
      <p:sp>
        <p:nvSpPr>
          <p:cNvPr id="30" name="Textplatzhalter 17">
            <a:extLst>
              <a:ext uri="{FF2B5EF4-FFF2-40B4-BE49-F238E27FC236}">
                <a16:creationId xmlns:a16="http://schemas.microsoft.com/office/drawing/2014/main" id="{55DE431F-0FC0-4C15-BCBB-6EB280ECA1C4}"/>
              </a:ext>
            </a:extLst>
          </p:cNvPr>
          <p:cNvSpPr>
            <a:spLocks noGrp="1"/>
          </p:cNvSpPr>
          <p:nvPr>
            <p:ph type="body" sz="quarter" idx="20" hasCustomPrompt="1"/>
          </p:nvPr>
        </p:nvSpPr>
        <p:spPr>
          <a:xfrm>
            <a:off x="447051" y="3507828"/>
            <a:ext cx="648643" cy="432693"/>
          </a:xfrm>
        </p:spPr>
        <p:txBody>
          <a:bodyPr>
            <a:normAutofit/>
          </a:bodyPr>
          <a:lstStyle>
            <a:lvl1pPr algn="l">
              <a:lnSpc>
                <a:spcPct val="100000"/>
              </a:lnSpc>
              <a:buNone/>
              <a:defRPr sz="2800">
                <a:solidFill>
                  <a:schemeClr val="tx1"/>
                </a:solidFill>
                <a:latin typeface="Source Sans Pro Semibold" panose="020B0603030403020204" pitchFamily="34" charset="0"/>
              </a:defRPr>
            </a:lvl1pPr>
          </a:lstStyle>
          <a:p>
            <a:pPr lvl="0"/>
            <a:r>
              <a:rPr lang="de-DE"/>
              <a:t>00</a:t>
            </a:r>
          </a:p>
        </p:txBody>
      </p:sp>
      <p:sp>
        <p:nvSpPr>
          <p:cNvPr id="31" name="Textplatzhalter 19">
            <a:extLst>
              <a:ext uri="{FF2B5EF4-FFF2-40B4-BE49-F238E27FC236}">
                <a16:creationId xmlns:a16="http://schemas.microsoft.com/office/drawing/2014/main" id="{896A725E-BA01-41C2-9E55-B9EE588A1394}"/>
              </a:ext>
            </a:extLst>
          </p:cNvPr>
          <p:cNvSpPr>
            <a:spLocks noGrp="1"/>
          </p:cNvSpPr>
          <p:nvPr>
            <p:ph type="body" sz="quarter" idx="21"/>
          </p:nvPr>
        </p:nvSpPr>
        <p:spPr>
          <a:xfrm>
            <a:off x="1294296" y="3632603"/>
            <a:ext cx="4551062" cy="287660"/>
          </a:xfrm>
        </p:spPr>
        <p:txBody>
          <a:bodyPr/>
          <a:lstStyle>
            <a:lvl1pPr>
              <a:buNone/>
              <a:defRPr b="0">
                <a:solidFill>
                  <a:schemeClr val="tx1"/>
                </a:solidFill>
                <a:latin typeface="Source Sans Pro Semibold" panose="020B0603030403020204" pitchFamily="34" charset="0"/>
              </a:defRPr>
            </a:lvl1pPr>
          </a:lstStyle>
          <a:p>
            <a:pPr lvl="0"/>
            <a:r>
              <a:rPr lang="es-ES"/>
              <a:t>Haga clic para modificar los estilos de texto del patrón</a:t>
            </a:r>
          </a:p>
        </p:txBody>
      </p:sp>
      <p:sp>
        <p:nvSpPr>
          <p:cNvPr id="32" name="Textplatzhalter 17">
            <a:extLst>
              <a:ext uri="{FF2B5EF4-FFF2-40B4-BE49-F238E27FC236}">
                <a16:creationId xmlns:a16="http://schemas.microsoft.com/office/drawing/2014/main" id="{C21916A4-3A9E-4C87-98DC-F88F56746C62}"/>
              </a:ext>
            </a:extLst>
          </p:cNvPr>
          <p:cNvSpPr>
            <a:spLocks noGrp="1"/>
          </p:cNvSpPr>
          <p:nvPr>
            <p:ph type="body" sz="quarter" idx="22" hasCustomPrompt="1"/>
          </p:nvPr>
        </p:nvSpPr>
        <p:spPr>
          <a:xfrm>
            <a:off x="447051" y="4165053"/>
            <a:ext cx="648643" cy="432693"/>
          </a:xfrm>
        </p:spPr>
        <p:txBody>
          <a:bodyPr>
            <a:normAutofit/>
          </a:bodyPr>
          <a:lstStyle>
            <a:lvl1pPr algn="l">
              <a:lnSpc>
                <a:spcPct val="100000"/>
              </a:lnSpc>
              <a:buNone/>
              <a:defRPr sz="2800">
                <a:solidFill>
                  <a:schemeClr val="tx1"/>
                </a:solidFill>
                <a:latin typeface="Source Sans Pro Semibold" panose="020B0603030403020204" pitchFamily="34" charset="0"/>
              </a:defRPr>
            </a:lvl1pPr>
          </a:lstStyle>
          <a:p>
            <a:pPr lvl="0"/>
            <a:r>
              <a:rPr lang="de-DE"/>
              <a:t>00</a:t>
            </a:r>
          </a:p>
        </p:txBody>
      </p:sp>
      <p:sp>
        <p:nvSpPr>
          <p:cNvPr id="33" name="Textplatzhalter 19">
            <a:extLst>
              <a:ext uri="{FF2B5EF4-FFF2-40B4-BE49-F238E27FC236}">
                <a16:creationId xmlns:a16="http://schemas.microsoft.com/office/drawing/2014/main" id="{4B975F43-94C6-424F-A263-CFD89A2E0C41}"/>
              </a:ext>
            </a:extLst>
          </p:cNvPr>
          <p:cNvSpPr>
            <a:spLocks noGrp="1"/>
          </p:cNvSpPr>
          <p:nvPr>
            <p:ph type="body" sz="quarter" idx="23"/>
          </p:nvPr>
        </p:nvSpPr>
        <p:spPr>
          <a:xfrm>
            <a:off x="1294296" y="4289828"/>
            <a:ext cx="4551062" cy="287660"/>
          </a:xfrm>
        </p:spPr>
        <p:txBody>
          <a:bodyPr/>
          <a:lstStyle>
            <a:lvl1pPr>
              <a:buNone/>
              <a:defRPr b="0">
                <a:solidFill>
                  <a:schemeClr val="tx1"/>
                </a:solidFill>
                <a:latin typeface="Source Sans Pro Semibold" panose="020B0603030403020204" pitchFamily="34" charset="0"/>
              </a:defRPr>
            </a:lvl1pPr>
          </a:lstStyle>
          <a:p>
            <a:pPr lvl="0"/>
            <a:r>
              <a:rPr lang="es-ES"/>
              <a:t>Haga clic para modificar los estilos de texto del patrón</a:t>
            </a:r>
          </a:p>
        </p:txBody>
      </p:sp>
      <p:sp>
        <p:nvSpPr>
          <p:cNvPr id="34" name="Textplatzhalter 17">
            <a:extLst>
              <a:ext uri="{FF2B5EF4-FFF2-40B4-BE49-F238E27FC236}">
                <a16:creationId xmlns:a16="http://schemas.microsoft.com/office/drawing/2014/main" id="{38C0F98C-1BAE-47B3-88B8-08DE9B446EB5}"/>
              </a:ext>
            </a:extLst>
          </p:cNvPr>
          <p:cNvSpPr>
            <a:spLocks noGrp="1"/>
          </p:cNvSpPr>
          <p:nvPr>
            <p:ph type="body" sz="quarter" idx="24" hasCustomPrompt="1"/>
          </p:nvPr>
        </p:nvSpPr>
        <p:spPr>
          <a:xfrm>
            <a:off x="447051" y="4822278"/>
            <a:ext cx="648643" cy="432693"/>
          </a:xfrm>
        </p:spPr>
        <p:txBody>
          <a:bodyPr>
            <a:normAutofit/>
          </a:bodyPr>
          <a:lstStyle>
            <a:lvl1pPr algn="l">
              <a:lnSpc>
                <a:spcPct val="100000"/>
              </a:lnSpc>
              <a:buNone/>
              <a:defRPr sz="2800">
                <a:solidFill>
                  <a:schemeClr val="tx1"/>
                </a:solidFill>
                <a:latin typeface="Source Sans Pro Semibold" panose="020B0603030403020204" pitchFamily="34" charset="0"/>
              </a:defRPr>
            </a:lvl1pPr>
          </a:lstStyle>
          <a:p>
            <a:pPr lvl="0"/>
            <a:r>
              <a:rPr lang="de-DE"/>
              <a:t>00</a:t>
            </a:r>
          </a:p>
        </p:txBody>
      </p:sp>
      <p:sp>
        <p:nvSpPr>
          <p:cNvPr id="35" name="Textplatzhalter 19">
            <a:extLst>
              <a:ext uri="{FF2B5EF4-FFF2-40B4-BE49-F238E27FC236}">
                <a16:creationId xmlns:a16="http://schemas.microsoft.com/office/drawing/2014/main" id="{E099138A-A8F1-41F2-A7E0-C2F650F34E44}"/>
              </a:ext>
            </a:extLst>
          </p:cNvPr>
          <p:cNvSpPr>
            <a:spLocks noGrp="1"/>
          </p:cNvSpPr>
          <p:nvPr>
            <p:ph type="body" sz="quarter" idx="25"/>
          </p:nvPr>
        </p:nvSpPr>
        <p:spPr>
          <a:xfrm>
            <a:off x="1294296" y="4947053"/>
            <a:ext cx="4551062" cy="287660"/>
          </a:xfrm>
        </p:spPr>
        <p:txBody>
          <a:bodyPr/>
          <a:lstStyle>
            <a:lvl1pPr>
              <a:buNone/>
              <a:defRPr b="0">
                <a:solidFill>
                  <a:schemeClr val="tx1"/>
                </a:solidFill>
                <a:latin typeface="Source Sans Pro Semibold" panose="020B0603030403020204" pitchFamily="34" charset="0"/>
              </a:defRPr>
            </a:lvl1pPr>
          </a:lstStyle>
          <a:p>
            <a:pPr lvl="0"/>
            <a:r>
              <a:rPr lang="es-ES"/>
              <a:t>Haga clic para modificar los estilos de texto del patrón</a:t>
            </a:r>
          </a:p>
        </p:txBody>
      </p:sp>
      <p:sp>
        <p:nvSpPr>
          <p:cNvPr id="3" name="Datumsplatzhalter 2">
            <a:extLst>
              <a:ext uri="{FF2B5EF4-FFF2-40B4-BE49-F238E27FC236}">
                <a16:creationId xmlns:a16="http://schemas.microsoft.com/office/drawing/2014/main" id="{12818C58-1E8B-413B-86F9-61D5383DC6C1}"/>
              </a:ext>
            </a:extLst>
          </p:cNvPr>
          <p:cNvSpPr>
            <a:spLocks noGrp="1"/>
          </p:cNvSpPr>
          <p:nvPr>
            <p:ph type="dt" sz="half" idx="10"/>
          </p:nvPr>
        </p:nvSpPr>
        <p:spPr/>
        <p:txBody>
          <a:bodyPr/>
          <a:lstStyle>
            <a:lvl1pPr>
              <a:defRPr>
                <a:solidFill>
                  <a:schemeClr val="accent1"/>
                </a:solidFill>
              </a:defRPr>
            </a:lvl1pPr>
          </a:lstStyle>
          <a:p>
            <a:fld id="{CC447751-7359-4DB9-BAB5-5C36709CC0FA}" type="datetime1">
              <a:rPr lang="de-DE" smtClean="0"/>
              <a:pPr/>
              <a:t>05.11.2024</a:t>
            </a:fld>
            <a:endParaRPr lang="de-DE"/>
          </a:p>
        </p:txBody>
      </p:sp>
      <p:sp>
        <p:nvSpPr>
          <p:cNvPr id="4" name="Fußzeilenplatzhalter 3">
            <a:extLst>
              <a:ext uri="{FF2B5EF4-FFF2-40B4-BE49-F238E27FC236}">
                <a16:creationId xmlns:a16="http://schemas.microsoft.com/office/drawing/2014/main" id="{65187C2C-9258-4949-A2BA-C9B426FF1237}"/>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8358D593-9659-47B3-B291-03EC3DADB097}"/>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Tree>
    <p:extLst>
      <p:ext uri="{BB962C8B-B14F-4D97-AF65-F5344CB8AC3E}">
        <p14:creationId xmlns:p14="http://schemas.microsoft.com/office/powerpoint/2010/main" val="10837051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2921B7B-F090-1D37-232C-C1A2F794349D}"/>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C01939CC-D8FB-9E44-F052-91E9B09A6C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texto 3">
            <a:extLst>
              <a:ext uri="{FF2B5EF4-FFF2-40B4-BE49-F238E27FC236}">
                <a16:creationId xmlns:a16="http://schemas.microsoft.com/office/drawing/2014/main" id="{A72F7BEA-4198-5C92-0FFA-3201783473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a:extLst>
              <a:ext uri="{FF2B5EF4-FFF2-40B4-BE49-F238E27FC236}">
                <a16:creationId xmlns:a16="http://schemas.microsoft.com/office/drawing/2014/main" id="{B8D5EC9E-38B6-B29D-888C-8E57E59DAD4A}"/>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6" name="Marcador de pie de página 5">
            <a:extLst>
              <a:ext uri="{FF2B5EF4-FFF2-40B4-BE49-F238E27FC236}">
                <a16:creationId xmlns:a16="http://schemas.microsoft.com/office/drawing/2014/main" id="{10D0B8AB-8A6E-BBB8-783A-9B32250CE141}"/>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08B3FB11-29B2-8368-B0B5-B15CF1658B4B}"/>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10168677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5939CAF-6FDC-246D-45BB-889D8C20282C}"/>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posición de imagen 2">
            <a:extLst>
              <a:ext uri="{FF2B5EF4-FFF2-40B4-BE49-F238E27FC236}">
                <a16:creationId xmlns:a16="http://schemas.microsoft.com/office/drawing/2014/main" id="{E64F42CC-4FBF-0BC7-77B5-7D0225CDDAC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s-MX"/>
          </a:p>
        </p:txBody>
      </p:sp>
      <p:sp>
        <p:nvSpPr>
          <p:cNvPr id="4" name="Marcador de texto 3">
            <a:extLst>
              <a:ext uri="{FF2B5EF4-FFF2-40B4-BE49-F238E27FC236}">
                <a16:creationId xmlns:a16="http://schemas.microsoft.com/office/drawing/2014/main" id="{8AF11C74-4126-121C-D834-90EE120BF9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a:extLst>
              <a:ext uri="{FF2B5EF4-FFF2-40B4-BE49-F238E27FC236}">
                <a16:creationId xmlns:a16="http://schemas.microsoft.com/office/drawing/2014/main" id="{B38D6EAD-521E-0ED5-CE24-FC46FEDA5CE1}"/>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6" name="Marcador de pie de página 5">
            <a:extLst>
              <a:ext uri="{FF2B5EF4-FFF2-40B4-BE49-F238E27FC236}">
                <a16:creationId xmlns:a16="http://schemas.microsoft.com/office/drawing/2014/main" id="{325E03F1-8D26-7C52-27C5-19768FBF70B9}"/>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3E125E56-F3DB-6575-C455-86453EB6A310}"/>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10003834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F6EA45B-35EE-5540-B8B3-53CE0228A113}"/>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texto vertical 2">
            <a:extLst>
              <a:ext uri="{FF2B5EF4-FFF2-40B4-BE49-F238E27FC236}">
                <a16:creationId xmlns:a16="http://schemas.microsoft.com/office/drawing/2014/main" id="{2413576A-FEF4-8C61-E367-B8A64DA73CDC}"/>
              </a:ext>
            </a:extLst>
          </p:cNvPr>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5CF261F1-AD57-2559-C4BB-AEA558E85E88}"/>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5" name="Marcador de pie de página 4">
            <a:extLst>
              <a:ext uri="{FF2B5EF4-FFF2-40B4-BE49-F238E27FC236}">
                <a16:creationId xmlns:a16="http://schemas.microsoft.com/office/drawing/2014/main" id="{891317CE-14E3-8CB1-1367-073EB8110FC0}"/>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550E72CA-9EEB-3962-0365-308CC27A0A5F}"/>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33823707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A42D98FE-48FB-8574-BF04-2D7774866829}"/>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MX"/>
          </a:p>
        </p:txBody>
      </p:sp>
      <p:sp>
        <p:nvSpPr>
          <p:cNvPr id="3" name="Marcador de texto vertical 2">
            <a:extLst>
              <a:ext uri="{FF2B5EF4-FFF2-40B4-BE49-F238E27FC236}">
                <a16:creationId xmlns:a16="http://schemas.microsoft.com/office/drawing/2014/main" id="{645E3BC9-F02D-8A4F-56A0-081BFEB5A088}"/>
              </a:ext>
            </a:extLst>
          </p:cNvPr>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33B69374-7CF3-88B3-FC12-526DB990B0F4}"/>
              </a:ext>
            </a:extLst>
          </p:cNvPr>
          <p:cNvSpPr>
            <a:spLocks noGrp="1"/>
          </p:cNvSpPr>
          <p:nvPr>
            <p:ph type="dt" sz="half" idx="10"/>
          </p:nvPr>
        </p:nvSpPr>
        <p:spPr/>
        <p:txBody>
          <a:bodyPr/>
          <a:lstStyle/>
          <a:p>
            <a:fld id="{E739C89D-90B8-420D-9D09-9D041DB88F0A}" type="datetimeFigureOut">
              <a:rPr lang="es-MX" smtClean="0"/>
              <a:t>05/11/2024</a:t>
            </a:fld>
            <a:endParaRPr lang="es-MX"/>
          </a:p>
        </p:txBody>
      </p:sp>
      <p:sp>
        <p:nvSpPr>
          <p:cNvPr id="5" name="Marcador de pie de página 4">
            <a:extLst>
              <a:ext uri="{FF2B5EF4-FFF2-40B4-BE49-F238E27FC236}">
                <a16:creationId xmlns:a16="http://schemas.microsoft.com/office/drawing/2014/main" id="{816013EF-6B71-24D1-DC92-E1AD9AD2CBF7}"/>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FC884466-82E1-ACAF-F13A-67218B1E73A7}"/>
              </a:ext>
            </a:extLst>
          </p:cNvPr>
          <p:cNvSpPr>
            <a:spLocks noGrp="1"/>
          </p:cNvSpPr>
          <p:nvPr>
            <p:ph type="sldNum" sz="quarter" idx="12"/>
          </p:nvPr>
        </p:nvSpPr>
        <p:spPr/>
        <p:txBody>
          <a:bodyPr/>
          <a:lstStyle/>
          <a:p>
            <a:fld id="{317D4F49-43CD-43C2-A0F5-C2D7C373BC3A}" type="slidenum">
              <a:rPr lang="es-MX" smtClean="0"/>
              <a:t>‹Nº›</a:t>
            </a:fld>
            <a:endParaRPr lang="es-MX"/>
          </a:p>
        </p:txBody>
      </p:sp>
    </p:spTree>
    <p:extLst>
      <p:ext uri="{BB962C8B-B14F-4D97-AF65-F5344CB8AC3E}">
        <p14:creationId xmlns:p14="http://schemas.microsoft.com/office/powerpoint/2010/main" val="33699336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Defaul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37D79EFB-2E07-4B82-B4AC-86DD183B8303}"/>
              </a:ext>
            </a:extLst>
          </p:cNvPr>
          <p:cNvSpPr>
            <a:spLocks/>
          </p:cNvSpPr>
          <p:nvPr userDrawn="1"/>
        </p:nvSpPr>
        <p:spPr>
          <a:xfrm>
            <a:off x="0" y="6406676"/>
            <a:ext cx="3054350" cy="451324"/>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071CD5F4-1C0E-4213-B2FD-45E404864FAC}"/>
              </a:ext>
            </a:extLst>
          </p:cNvPr>
          <p:cNvPicPr>
            <a:picLocks/>
          </p:cNvPicPr>
          <p:nvPr userDrawn="1"/>
        </p:nvPicPr>
        <p:blipFill rotWithShape="1">
          <a:blip r:embed="rId9" cstate="email">
            <a:extLst>
              <a:ext uri="{28A0092B-C50C-407E-A947-70E740481C1C}">
                <a14:useLocalDpi xmlns:a14="http://schemas.microsoft.com/office/drawing/2010/main"/>
              </a:ext>
            </a:extLst>
          </a:blip>
          <a:srcRect/>
          <a:stretch/>
        </p:blipFill>
        <p:spPr>
          <a:xfrm>
            <a:off x="2924175" y="6406676"/>
            <a:ext cx="9267825" cy="451324"/>
          </a:xfrm>
          <a:prstGeom prst="rect">
            <a:avLst/>
          </a:prstGeom>
        </p:spPr>
      </p:pic>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Picture 3"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s-E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509487"/>
            <a:ext cx="11082528" cy="384721"/>
          </a:xfrm>
        </p:spPr>
        <p:txBody>
          <a:bodyPr vert="horz" wrap="square" lIns="0" tIns="0" rIns="0" bIns="0" rtlCol="0" anchor="b" anchorCtr="0">
            <a:spAutoFit/>
          </a:bodyPr>
          <a:lstStyle>
            <a:lvl1pPr>
              <a:defRPr lang="es-ES" dirty="0"/>
            </a:lvl1pPr>
          </a:lstStyle>
          <a:p>
            <a:pPr lvl="0"/>
            <a:r>
              <a:rPr lang="es-ES"/>
              <a:t>Haga clic para modificar el estilo de título del patrón</a:t>
            </a:r>
            <a:endParaRPr lang="es-E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48069"/>
            <a:ext cx="11082528" cy="276999"/>
          </a:xfrm>
          <a:prstGeom prst="rect">
            <a:avLst/>
          </a:prstGeom>
        </p:spPr>
        <p:txBody>
          <a:bodyPr vert="horz" wrap="square" lIns="0" tIns="0" rIns="0" bIns="0" rtlCol="0">
            <a:spAutoFit/>
          </a:bodyPr>
          <a:lstStyle>
            <a:lvl1pPr>
              <a:defRPr lang="es-ES" sz="1800" b="0" dirty="0"/>
            </a:lvl1pPr>
          </a:lstStyle>
          <a:p>
            <a:pPr lvl="0">
              <a:buNone/>
            </a:pPr>
            <a:r>
              <a:rPr lang="es-ES"/>
              <a:t>Haga clic para modificar el estilo de subtítulo del patrón</a:t>
            </a:r>
            <a:endParaRPr lang="es-E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67020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
                <a:srgbClr val="FFFFFF"/>
              </a:buClr>
              <a:buSzTx/>
              <a:buFontTx/>
              <a:buNone/>
              <a:tabLst/>
              <a:defRPr/>
            </a:pPr>
            <a:fld id="{4ABDCABE-3F10-B64C-92F1-862014417034}" type="slidenum">
              <a:rPr kumimoji="0" lang="es-ES" sz="900" b="0" i="0" u="none" strike="noStrike" kern="1200" cap="none" spc="0" normalizeH="0" baseline="0" noProof="0" smtClean="0">
                <a:ln>
                  <a:noFill/>
                </a:ln>
                <a:solidFill>
                  <a:srgbClr val="FFFFFF"/>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
                  <a:srgbClr val="FFFFFF"/>
                </a:buClr>
                <a:buSzTx/>
                <a:buFontTx/>
                <a:buNone/>
                <a:tabLst/>
                <a:defRPr/>
              </a:pPr>
              <a:t>‹Nº›</a:t>
            </a:fld>
            <a:endParaRPr kumimoji="0" lang="es-ES" sz="9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7078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FFFFFF"/>
              </a:buClr>
              <a:buSzTx/>
              <a:buFont typeface="Segoe UI" panose="020B0502040204020203" pitchFamily="34" charset="0"/>
              <a:buChar char="​"/>
              <a:tabLst/>
              <a:defRPr/>
            </a:pPr>
            <a:r>
              <a:rPr kumimoji="0" lang="es-ES" sz="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rPr>
              <a:t>Fuent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s-ES" sz="800" b="0" dirty="0">
                <a:cs typeface="+mn-cs"/>
              </a:defRPr>
            </a:lvl1pPr>
          </a:lstStyle>
          <a:p>
            <a:pPr lvl="0">
              <a:buNone/>
            </a:pPr>
            <a:r>
              <a:rPr lang="es-ES" dirty="0" err="1"/>
              <a:t>Add</a:t>
            </a:r>
            <a:r>
              <a:rPr lang="es-ES" dirty="0"/>
              <a:t> </a:t>
            </a:r>
            <a:r>
              <a:rPr lang="es-ES" dirty="0" err="1"/>
              <a:t>tracker</a:t>
            </a:r>
            <a:endParaRPr lang="es-ES" dirty="0"/>
          </a:p>
        </p:txBody>
      </p:sp>
    </p:spTree>
    <p:extLst>
      <p:ext uri="{BB962C8B-B14F-4D97-AF65-F5344CB8AC3E}">
        <p14:creationId xmlns:p14="http://schemas.microsoft.com/office/powerpoint/2010/main" val="7105900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el mit Bild">
    <p:spTree>
      <p:nvGrpSpPr>
        <p:cNvPr id="1" name=""/>
        <p:cNvGrpSpPr/>
        <p:nvPr/>
      </p:nvGrpSpPr>
      <p:grpSpPr>
        <a:xfrm>
          <a:off x="0" y="0"/>
          <a:ext cx="0" cy="0"/>
          <a:chOff x="0" y="0"/>
          <a:chExt cx="0" cy="0"/>
        </a:xfrm>
      </p:grpSpPr>
      <p:grpSp>
        <p:nvGrpSpPr>
          <p:cNvPr id="86" name="Gruppieren 85">
            <a:extLst>
              <a:ext uri="{FF2B5EF4-FFF2-40B4-BE49-F238E27FC236}">
                <a16:creationId xmlns:a16="http://schemas.microsoft.com/office/drawing/2014/main" id="{CE067396-5996-48EE-B266-6B72A8C02A74}"/>
              </a:ext>
            </a:extLst>
          </p:cNvPr>
          <p:cNvGrpSpPr/>
          <p:nvPr userDrawn="1"/>
        </p:nvGrpSpPr>
        <p:grpSpPr>
          <a:xfrm>
            <a:off x="0" y="0"/>
            <a:ext cx="12192000" cy="6858000"/>
            <a:chOff x="0" y="0"/>
            <a:chExt cx="12192000" cy="6858000"/>
          </a:xfrm>
        </p:grpSpPr>
        <p:sp>
          <p:nvSpPr>
            <p:cNvPr id="87" name="Rechteck 86">
              <a:extLst>
                <a:ext uri="{FF2B5EF4-FFF2-40B4-BE49-F238E27FC236}">
                  <a16:creationId xmlns:a16="http://schemas.microsoft.com/office/drawing/2014/main" id="{0525A022-9FB7-4648-8C1B-2267586BCFB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88" name="Rechteck 87">
              <a:extLst>
                <a:ext uri="{FF2B5EF4-FFF2-40B4-BE49-F238E27FC236}">
                  <a16:creationId xmlns:a16="http://schemas.microsoft.com/office/drawing/2014/main" id="{0FB1B898-E1D0-4677-95EE-68532BD2E227}"/>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10" name="Bildplatzhalter 9">
            <a:extLst>
              <a:ext uri="{FF2B5EF4-FFF2-40B4-BE49-F238E27FC236}">
                <a16:creationId xmlns:a16="http://schemas.microsoft.com/office/drawing/2014/main" id="{E1AF70CB-A79B-4C45-A791-B1C3B77F90D0}"/>
              </a:ext>
            </a:extLst>
          </p:cNvPr>
          <p:cNvSpPr>
            <a:spLocks noGrp="1"/>
          </p:cNvSpPr>
          <p:nvPr>
            <p:ph type="pic" sz="quarter" idx="14" hasCustomPrompt="1"/>
          </p:nvPr>
        </p:nvSpPr>
        <p:spPr>
          <a:xfrm>
            <a:off x="6699250" y="3"/>
            <a:ext cx="5492750" cy="6857999"/>
          </a:xfrm>
          <a:custGeom>
            <a:avLst/>
            <a:gdLst>
              <a:gd name="connsiteX0" fmla="*/ 1341182 w 5492750"/>
              <a:gd name="connsiteY0" fmla="*/ 0 h 6857999"/>
              <a:gd name="connsiteX1" fmla="*/ 5492750 w 5492750"/>
              <a:gd name="connsiteY1" fmla="*/ 0 h 6857999"/>
              <a:gd name="connsiteX2" fmla="*/ 5492750 w 5492750"/>
              <a:gd name="connsiteY2" fmla="*/ 6857999 h 6857999"/>
              <a:gd name="connsiteX3" fmla="*/ 1870382 w 5492750"/>
              <a:gd name="connsiteY3" fmla="*/ 6857999 h 6857999"/>
              <a:gd name="connsiteX4" fmla="*/ 0 w 5492750"/>
              <a:gd name="connsiteY4" fmla="*/ 5543549 h 68579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2750" h="6857999">
                <a:moveTo>
                  <a:pt x="1341182" y="0"/>
                </a:moveTo>
                <a:lnTo>
                  <a:pt x="5492750" y="0"/>
                </a:lnTo>
                <a:lnTo>
                  <a:pt x="5492750" y="6857999"/>
                </a:lnTo>
                <a:lnTo>
                  <a:pt x="1870382" y="6857999"/>
                </a:lnTo>
                <a:lnTo>
                  <a:pt x="0" y="5543549"/>
                </a:lnTo>
                <a:close/>
              </a:path>
            </a:pathLst>
          </a:custGeom>
          <a:solidFill>
            <a:schemeClr val="accent3"/>
          </a:solidFill>
        </p:spPr>
        <p:txBody>
          <a:bodyPr wrap="square" anchor="ctr">
            <a:noAutofit/>
          </a:bodyPr>
          <a:lstStyle>
            <a:lvl1pPr algn="ctr">
              <a:buNone/>
              <a:defRPr>
                <a:solidFill>
                  <a:srgbClr val="C5EDED"/>
                </a:solidFill>
              </a:defRPr>
            </a:lvl1pPr>
          </a:lstStyle>
          <a:p>
            <a:r>
              <a:rPr lang="de-DE"/>
              <a:t>Picture durch </a:t>
            </a:r>
            <a:br>
              <a:rPr lang="de-DE"/>
            </a:br>
            <a:r>
              <a:rPr lang="de-DE"/>
              <a:t>Klick einfügen</a:t>
            </a:r>
          </a:p>
        </p:txBody>
      </p:sp>
      <p:sp>
        <p:nvSpPr>
          <p:cNvPr id="12" name="Textplatzhalter 8">
            <a:extLst>
              <a:ext uri="{FF2B5EF4-FFF2-40B4-BE49-F238E27FC236}">
                <a16:creationId xmlns:a16="http://schemas.microsoft.com/office/drawing/2014/main" id="{A1040BA2-5415-4E94-AB5C-F700F9A53097}"/>
              </a:ext>
            </a:extLst>
          </p:cNvPr>
          <p:cNvSpPr>
            <a:spLocks noGrp="1"/>
          </p:cNvSpPr>
          <p:nvPr>
            <p:ph type="body" sz="quarter" idx="13"/>
          </p:nvPr>
        </p:nvSpPr>
        <p:spPr>
          <a:xfrm>
            <a:off x="632918" y="5864571"/>
            <a:ext cx="5967138" cy="288055"/>
          </a:xfrm>
        </p:spPr>
        <p:txBody>
          <a:bodyPr/>
          <a:lstStyle>
            <a:lvl1pPr>
              <a:buNone/>
              <a:defRPr>
                <a:solidFill>
                  <a:schemeClr val="bg1"/>
                </a:solidFill>
                <a:latin typeface="Source Sans Pro Semibold" panose="020B0603030403020204" pitchFamily="34" charset="0"/>
              </a:defRPr>
            </a:lvl1pPr>
          </a:lstStyle>
          <a:p>
            <a:pPr lvl="0"/>
            <a:r>
              <a:rPr lang="es-ES"/>
              <a:t>Haga clic para modificar los estilos de texto del patrón</a:t>
            </a:r>
          </a:p>
        </p:txBody>
      </p:sp>
      <p:sp>
        <p:nvSpPr>
          <p:cNvPr id="89" name="Titel 1">
            <a:extLst>
              <a:ext uri="{FF2B5EF4-FFF2-40B4-BE49-F238E27FC236}">
                <a16:creationId xmlns:a16="http://schemas.microsoft.com/office/drawing/2014/main" id="{1C07C52F-E262-4539-9E68-2C494431F106}"/>
              </a:ext>
            </a:extLst>
          </p:cNvPr>
          <p:cNvSpPr>
            <a:spLocks noGrp="1"/>
          </p:cNvSpPr>
          <p:nvPr>
            <p:ph type="title"/>
          </p:nvPr>
        </p:nvSpPr>
        <p:spPr>
          <a:xfrm>
            <a:off x="632919" y="4077072"/>
            <a:ext cx="5967137" cy="1480904"/>
          </a:xfrm>
        </p:spPr>
        <p:txBody>
          <a:bodyPr anchor="b"/>
          <a:lstStyle>
            <a:lvl1pPr>
              <a:lnSpc>
                <a:spcPts val="4600"/>
              </a:lnSpc>
              <a:defRPr lang="de-DE" sz="4200" kern="1200" dirty="0">
                <a:solidFill>
                  <a:schemeClr val="bg1"/>
                </a:solidFill>
                <a:latin typeface="+mj-lt"/>
                <a:ea typeface="+mj-ea"/>
                <a:cs typeface="+mj-cs"/>
              </a:defRPr>
            </a:lvl1pPr>
          </a:lstStyle>
          <a:p>
            <a:r>
              <a:rPr lang="es-ES"/>
              <a:t>Haga clic para modificar el estilo de título del patrón</a:t>
            </a:r>
            <a:endParaRPr lang="de-DE"/>
          </a:p>
        </p:txBody>
      </p:sp>
      <p:pic>
        <p:nvPicPr>
          <p:cNvPr id="2" name="Grafik 29">
            <a:extLst>
              <a:ext uri="{FF2B5EF4-FFF2-40B4-BE49-F238E27FC236}">
                <a16:creationId xmlns:a16="http://schemas.microsoft.com/office/drawing/2014/main" id="{B6D869AB-CD39-A7B9-4354-38F129BE401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48135" y="419613"/>
            <a:ext cx="6336703" cy="3218797"/>
          </a:xfrm>
          <a:prstGeom prst="rect">
            <a:avLst/>
          </a:prstGeom>
        </p:spPr>
      </p:pic>
    </p:spTree>
    <p:extLst>
      <p:ext uri="{BB962C8B-B14F-4D97-AF65-F5344CB8AC3E}">
        <p14:creationId xmlns:p14="http://schemas.microsoft.com/office/powerpoint/2010/main" val="12254299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91E47AB-FAD9-2622-0569-54742C14B3FB}"/>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MX"/>
          </a:p>
        </p:txBody>
      </p:sp>
      <p:sp>
        <p:nvSpPr>
          <p:cNvPr id="3" name="Subtítulo 2">
            <a:extLst>
              <a:ext uri="{FF2B5EF4-FFF2-40B4-BE49-F238E27FC236}">
                <a16:creationId xmlns:a16="http://schemas.microsoft.com/office/drawing/2014/main" id="{478218D1-4A70-9432-E43C-00F611CB426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MX"/>
          </a:p>
        </p:txBody>
      </p:sp>
      <p:sp>
        <p:nvSpPr>
          <p:cNvPr id="4" name="Marcador de fecha 3">
            <a:extLst>
              <a:ext uri="{FF2B5EF4-FFF2-40B4-BE49-F238E27FC236}">
                <a16:creationId xmlns:a16="http://schemas.microsoft.com/office/drawing/2014/main" id="{FB78F5CA-2EF0-DF65-2646-429D40522738}"/>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5" name="Marcador de pie de página 4">
            <a:extLst>
              <a:ext uri="{FF2B5EF4-FFF2-40B4-BE49-F238E27FC236}">
                <a16:creationId xmlns:a16="http://schemas.microsoft.com/office/drawing/2014/main" id="{CB8E5355-49C7-0388-50D6-21B3C6DFF5BC}"/>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519EDFA9-17B7-71F4-6C0A-5BD6C022F6D8}"/>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1911594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83923EF-878A-826E-20BD-77A3593BB869}"/>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04A64DD2-F1B9-2E11-DAB1-37D9D4858B98}"/>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5ABE87B5-E721-D66A-6BB6-B7B9A6B3654A}"/>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5" name="Marcador de pie de página 4">
            <a:extLst>
              <a:ext uri="{FF2B5EF4-FFF2-40B4-BE49-F238E27FC236}">
                <a16:creationId xmlns:a16="http://schemas.microsoft.com/office/drawing/2014/main" id="{B8338042-FBA0-1FC7-A700-BBEE940A84AD}"/>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300B7669-513A-BC0D-4A55-B1E20A935BE6}"/>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395408838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4866CA5-3EEE-19FC-130E-91FF39A4EA72}"/>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6B709CB6-9994-2148-D71B-5D7EC7E9E5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7AAA5A1D-C333-B97D-300F-1C840461DA1C}"/>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5" name="Marcador de pie de página 4">
            <a:extLst>
              <a:ext uri="{FF2B5EF4-FFF2-40B4-BE49-F238E27FC236}">
                <a16:creationId xmlns:a16="http://schemas.microsoft.com/office/drawing/2014/main" id="{70E74122-2471-A125-6608-D7249A397851}"/>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7AD596A0-E973-6096-609A-38CCFB91E242}"/>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37046288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0743420-6F23-92F2-AA01-24FF67380E33}"/>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03DABC24-CDD0-20C2-492D-DF16319D8369}"/>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contenido 3">
            <a:extLst>
              <a:ext uri="{FF2B5EF4-FFF2-40B4-BE49-F238E27FC236}">
                <a16:creationId xmlns:a16="http://schemas.microsoft.com/office/drawing/2014/main" id="{699EB2EE-D22C-668E-BC14-633019E81732}"/>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fecha 4">
            <a:extLst>
              <a:ext uri="{FF2B5EF4-FFF2-40B4-BE49-F238E27FC236}">
                <a16:creationId xmlns:a16="http://schemas.microsoft.com/office/drawing/2014/main" id="{6107FB08-6D62-F841-B8CF-DFECC9F1723E}"/>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6" name="Marcador de pie de página 5">
            <a:extLst>
              <a:ext uri="{FF2B5EF4-FFF2-40B4-BE49-F238E27FC236}">
                <a16:creationId xmlns:a16="http://schemas.microsoft.com/office/drawing/2014/main" id="{4FF42A9C-0FDA-5689-6552-3651CDD2D1DD}"/>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6FAA83FE-3AF7-3EA1-E949-6F64E714BD30}"/>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9132769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p:txBody>
          <a:bodyPr/>
          <a:lstStyle>
            <a:lvl1pPr>
              <a:defRPr>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4D1A8430-C9E8-4F0E-8423-FA66CCB001B5}"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2170113"/>
            <a:ext cx="9175750" cy="39957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3" y="1369905"/>
            <a:ext cx="9178925"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30150596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5DC656B-5648-EA48-0286-C8B8F348C61C}"/>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A0BB2BA3-EC9F-0B7E-CE52-FBC3CF187DD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DD33C6D9-A927-9002-CDF7-1343559138B1}"/>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texto 4">
            <a:extLst>
              <a:ext uri="{FF2B5EF4-FFF2-40B4-BE49-F238E27FC236}">
                <a16:creationId xmlns:a16="http://schemas.microsoft.com/office/drawing/2014/main" id="{05022D65-9F7C-437E-C5DE-D94F53AA730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7D2E31D8-6DA2-C4C5-B6B9-2F05F4B9802A}"/>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7" name="Marcador de fecha 6">
            <a:extLst>
              <a:ext uri="{FF2B5EF4-FFF2-40B4-BE49-F238E27FC236}">
                <a16:creationId xmlns:a16="http://schemas.microsoft.com/office/drawing/2014/main" id="{ED8ADB39-80F9-0AE4-EB06-69E1AFD627A1}"/>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8" name="Marcador de pie de página 7">
            <a:extLst>
              <a:ext uri="{FF2B5EF4-FFF2-40B4-BE49-F238E27FC236}">
                <a16:creationId xmlns:a16="http://schemas.microsoft.com/office/drawing/2014/main" id="{7570A4F6-ECB1-ECB4-5111-4D1A04A8EDA2}"/>
              </a:ext>
            </a:extLst>
          </p:cNvPr>
          <p:cNvSpPr>
            <a:spLocks noGrp="1"/>
          </p:cNvSpPr>
          <p:nvPr>
            <p:ph type="ftr" sz="quarter" idx="11"/>
          </p:nvPr>
        </p:nvSpPr>
        <p:spPr/>
        <p:txBody>
          <a:bodyPr/>
          <a:lstStyle/>
          <a:p>
            <a:endParaRPr lang="es-MX"/>
          </a:p>
        </p:txBody>
      </p:sp>
      <p:sp>
        <p:nvSpPr>
          <p:cNvPr id="9" name="Marcador de número de diapositiva 8">
            <a:extLst>
              <a:ext uri="{FF2B5EF4-FFF2-40B4-BE49-F238E27FC236}">
                <a16:creationId xmlns:a16="http://schemas.microsoft.com/office/drawing/2014/main" id="{312DF251-6F96-E91D-35B7-70A7BBB9E391}"/>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21330212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F1CAA75-0D2D-94C2-F43C-856058BA9132}"/>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fecha 2">
            <a:extLst>
              <a:ext uri="{FF2B5EF4-FFF2-40B4-BE49-F238E27FC236}">
                <a16:creationId xmlns:a16="http://schemas.microsoft.com/office/drawing/2014/main" id="{3F9D7E1C-EFEB-B4B3-088D-057BA8674140}"/>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4" name="Marcador de pie de página 3">
            <a:extLst>
              <a:ext uri="{FF2B5EF4-FFF2-40B4-BE49-F238E27FC236}">
                <a16:creationId xmlns:a16="http://schemas.microsoft.com/office/drawing/2014/main" id="{64831782-2FA9-2311-281A-34BE1C2E9469}"/>
              </a:ext>
            </a:extLst>
          </p:cNvPr>
          <p:cNvSpPr>
            <a:spLocks noGrp="1"/>
          </p:cNvSpPr>
          <p:nvPr>
            <p:ph type="ftr" sz="quarter" idx="11"/>
          </p:nvPr>
        </p:nvSpPr>
        <p:spPr/>
        <p:txBody>
          <a:bodyPr/>
          <a:lstStyle/>
          <a:p>
            <a:endParaRPr lang="es-MX"/>
          </a:p>
        </p:txBody>
      </p:sp>
      <p:sp>
        <p:nvSpPr>
          <p:cNvPr id="5" name="Marcador de número de diapositiva 4">
            <a:extLst>
              <a:ext uri="{FF2B5EF4-FFF2-40B4-BE49-F238E27FC236}">
                <a16:creationId xmlns:a16="http://schemas.microsoft.com/office/drawing/2014/main" id="{5C65E352-1F8D-3641-60CE-2F059D225EA4}"/>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150551733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3B73C795-5866-2815-37F0-E5BDB80B05AA}"/>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3" name="Marcador de pie de página 2">
            <a:extLst>
              <a:ext uri="{FF2B5EF4-FFF2-40B4-BE49-F238E27FC236}">
                <a16:creationId xmlns:a16="http://schemas.microsoft.com/office/drawing/2014/main" id="{EA2AE5F8-AF41-23A9-AAD7-E06223BA6D65}"/>
              </a:ext>
            </a:extLst>
          </p:cNvPr>
          <p:cNvSpPr>
            <a:spLocks noGrp="1"/>
          </p:cNvSpPr>
          <p:nvPr>
            <p:ph type="ftr" sz="quarter" idx="11"/>
          </p:nvPr>
        </p:nvSpPr>
        <p:spPr/>
        <p:txBody>
          <a:bodyPr/>
          <a:lstStyle/>
          <a:p>
            <a:endParaRPr lang="es-MX"/>
          </a:p>
        </p:txBody>
      </p:sp>
      <p:sp>
        <p:nvSpPr>
          <p:cNvPr id="4" name="Marcador de número de diapositiva 3">
            <a:extLst>
              <a:ext uri="{FF2B5EF4-FFF2-40B4-BE49-F238E27FC236}">
                <a16:creationId xmlns:a16="http://schemas.microsoft.com/office/drawing/2014/main" id="{58C590EC-AFDF-D564-D7BF-80559E371CF7}"/>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18761312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1D484C4-9A91-BCF4-B46A-0170520B7C0D}"/>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1C3692D4-4DB7-62E3-03D7-CBED30D1281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texto 3">
            <a:extLst>
              <a:ext uri="{FF2B5EF4-FFF2-40B4-BE49-F238E27FC236}">
                <a16:creationId xmlns:a16="http://schemas.microsoft.com/office/drawing/2014/main" id="{70D0833F-E85A-D52D-A4AB-543F088D72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F0BE15CE-CB77-601F-BBCC-B7712A100BBF}"/>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6" name="Marcador de pie de página 5">
            <a:extLst>
              <a:ext uri="{FF2B5EF4-FFF2-40B4-BE49-F238E27FC236}">
                <a16:creationId xmlns:a16="http://schemas.microsoft.com/office/drawing/2014/main" id="{3B093C63-C49E-FD54-6133-2B45A820729D}"/>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042D80C8-C5B4-B8EF-8872-561A47D5FB94}"/>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8152070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813AAD9-463F-C648-EB32-E06B7643BD14}"/>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posición de imagen 2">
            <a:extLst>
              <a:ext uri="{FF2B5EF4-FFF2-40B4-BE49-F238E27FC236}">
                <a16:creationId xmlns:a16="http://schemas.microsoft.com/office/drawing/2014/main" id="{BAFF2549-E0A4-5BC8-9A3D-6DA3216FFDD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a:extLst>
              <a:ext uri="{FF2B5EF4-FFF2-40B4-BE49-F238E27FC236}">
                <a16:creationId xmlns:a16="http://schemas.microsoft.com/office/drawing/2014/main" id="{D9F640E3-32D4-F213-29A8-41DDFD46B6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79292D7A-34FC-BD6A-6D8B-DF56B0C59998}"/>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6" name="Marcador de pie de página 5">
            <a:extLst>
              <a:ext uri="{FF2B5EF4-FFF2-40B4-BE49-F238E27FC236}">
                <a16:creationId xmlns:a16="http://schemas.microsoft.com/office/drawing/2014/main" id="{A5102312-EFFB-8D7D-5E79-E695BD7F02CB}"/>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FB06A54C-85C0-FC3F-DA09-4A53864EBF37}"/>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8324697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C8C7FC8-2DB4-D40F-3844-4A5194358787}"/>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texto vertical 2">
            <a:extLst>
              <a:ext uri="{FF2B5EF4-FFF2-40B4-BE49-F238E27FC236}">
                <a16:creationId xmlns:a16="http://schemas.microsoft.com/office/drawing/2014/main" id="{5B2015D5-3D25-BE49-B3E6-25AE94C7BC27}"/>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A431F3BF-CD4E-9777-BA7B-96F7A4DD8518}"/>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5" name="Marcador de pie de página 4">
            <a:extLst>
              <a:ext uri="{FF2B5EF4-FFF2-40B4-BE49-F238E27FC236}">
                <a16:creationId xmlns:a16="http://schemas.microsoft.com/office/drawing/2014/main" id="{9651BE51-936D-23BF-5444-B80DEC44BDAF}"/>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D5E633F0-08CE-ABCD-8A0E-D826F14D69B2}"/>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13219517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56EBFA23-61B0-8754-DEB7-1391D0135D7A}"/>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MX"/>
          </a:p>
        </p:txBody>
      </p:sp>
      <p:sp>
        <p:nvSpPr>
          <p:cNvPr id="3" name="Marcador de texto vertical 2">
            <a:extLst>
              <a:ext uri="{FF2B5EF4-FFF2-40B4-BE49-F238E27FC236}">
                <a16:creationId xmlns:a16="http://schemas.microsoft.com/office/drawing/2014/main" id="{418FC0B2-0CCD-5D6F-0837-8C7FC80731D6}"/>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5C13C11B-4D48-36FF-2610-B9F7F295CC5B}"/>
              </a:ext>
            </a:extLst>
          </p:cNvPr>
          <p:cNvSpPr>
            <a:spLocks noGrp="1"/>
          </p:cNvSpPr>
          <p:nvPr>
            <p:ph type="dt" sz="half" idx="10"/>
          </p:nvPr>
        </p:nvSpPr>
        <p:spPr/>
        <p:txBody>
          <a:bodyPr/>
          <a:lstStyle/>
          <a:p>
            <a:fld id="{D45DEB23-B7A8-4881-9BD5-2A42FEC08223}" type="datetimeFigureOut">
              <a:rPr lang="es-MX" smtClean="0"/>
              <a:t>05/11/2024</a:t>
            </a:fld>
            <a:endParaRPr lang="es-MX"/>
          </a:p>
        </p:txBody>
      </p:sp>
      <p:sp>
        <p:nvSpPr>
          <p:cNvPr id="5" name="Marcador de pie de página 4">
            <a:extLst>
              <a:ext uri="{FF2B5EF4-FFF2-40B4-BE49-F238E27FC236}">
                <a16:creationId xmlns:a16="http://schemas.microsoft.com/office/drawing/2014/main" id="{1488D252-52A0-C9E9-AE9F-F5125009FC3C}"/>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2E978A25-3B63-B1F8-A3E0-3E15E648268F}"/>
              </a:ext>
            </a:extLst>
          </p:cNvPr>
          <p:cNvSpPr>
            <a:spLocks noGrp="1"/>
          </p:cNvSpPr>
          <p:nvPr>
            <p:ph type="sldNum" sz="quarter" idx="12"/>
          </p:nvPr>
        </p:nvSpPr>
        <p:spPr/>
        <p:txBody>
          <a:bodyPr/>
          <a:lstStyle/>
          <a:p>
            <a:fld id="{1E8C0AAE-2C87-4640-A486-70E6755BEB58}" type="slidenum">
              <a:rPr lang="es-MX" smtClean="0"/>
              <a:t>‹Nº›</a:t>
            </a:fld>
            <a:endParaRPr lang="es-MX"/>
          </a:p>
        </p:txBody>
      </p:sp>
    </p:spTree>
    <p:extLst>
      <p:ext uri="{BB962C8B-B14F-4D97-AF65-F5344CB8AC3E}">
        <p14:creationId xmlns:p14="http://schemas.microsoft.com/office/powerpoint/2010/main" val="22775771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p:txBody>
          <a:body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accent1"/>
                </a:solidFill>
              </a:defRPr>
            </a:lvl1pPr>
          </a:lstStyle>
          <a:p>
            <a:fld id="{1186AC49-535F-4FA0-B353-FB590A0EF1E4}"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8" y="2170113"/>
            <a:ext cx="9175750" cy="3995737"/>
          </a:xfrm>
        </p:spPr>
        <p:txBody>
          <a:body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3" y="1369905"/>
            <a:ext cx="9178925" cy="215478"/>
          </a:xfrm>
        </p:spPr>
        <p:txBody>
          <a:bodyPr>
            <a:normAutofit/>
          </a:bodyPr>
          <a:lstStyle>
            <a:lvl1pPr>
              <a:lnSpc>
                <a:spcPct val="100000"/>
              </a:lnSpc>
              <a:buNone/>
              <a:defRPr sz="1400">
                <a:solidFill>
                  <a:schemeClr val="accent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Tree>
    <p:extLst>
      <p:ext uri="{BB962C8B-B14F-4D97-AF65-F5344CB8AC3E}">
        <p14:creationId xmlns:p14="http://schemas.microsoft.com/office/powerpoint/2010/main" val="24800793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2-spaltig">
    <p:spTree>
      <p:nvGrpSpPr>
        <p:cNvPr id="1" name=""/>
        <p:cNvGrpSpPr/>
        <p:nvPr/>
      </p:nvGrpSpPr>
      <p:grpSpPr>
        <a:xfrm>
          <a:off x="0" y="0"/>
          <a:ext cx="0" cy="0"/>
          <a:chOff x="0" y="0"/>
          <a:chExt cx="0" cy="0"/>
        </a:xfrm>
      </p:grpSpPr>
      <p:grpSp>
        <p:nvGrpSpPr>
          <p:cNvPr id="12" name="Gruppieren 11">
            <a:extLst>
              <a:ext uri="{FF2B5EF4-FFF2-40B4-BE49-F238E27FC236}">
                <a16:creationId xmlns:a16="http://schemas.microsoft.com/office/drawing/2014/main" id="{68708BE9-C556-4E10-9A4A-17C1F25B643E}"/>
              </a:ext>
            </a:extLst>
          </p:cNvPr>
          <p:cNvGrpSpPr/>
          <p:nvPr userDrawn="1"/>
        </p:nvGrpSpPr>
        <p:grpSpPr>
          <a:xfrm>
            <a:off x="0" y="0"/>
            <a:ext cx="12192000" cy="6858000"/>
            <a:chOff x="0" y="0"/>
            <a:chExt cx="12192000" cy="6858000"/>
          </a:xfrm>
        </p:grpSpPr>
        <p:sp>
          <p:nvSpPr>
            <p:cNvPr id="13" name="Rechteck 12">
              <a:extLst>
                <a:ext uri="{FF2B5EF4-FFF2-40B4-BE49-F238E27FC236}">
                  <a16:creationId xmlns:a16="http://schemas.microsoft.com/office/drawing/2014/main" id="{3950D830-F359-4494-AA6E-A921C16160DB}"/>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4" name="Rechteck 13">
              <a:extLst>
                <a:ext uri="{FF2B5EF4-FFF2-40B4-BE49-F238E27FC236}">
                  <a16:creationId xmlns:a16="http://schemas.microsoft.com/office/drawing/2014/main" id="{4E808A7B-937F-47D6-B0AA-3EBCF0712B0E}"/>
                </a:ext>
              </a:extLst>
            </p:cNvPr>
            <p:cNvSpPr/>
            <p:nvPr userDrawn="1"/>
          </p:nvSpPr>
          <p:spPr>
            <a:xfrm>
              <a:off x="0" y="0"/>
              <a:ext cx="12192000" cy="6858000"/>
            </a:xfrm>
            <a:prstGeom prst="rect">
              <a:avLst/>
            </a:prstGeom>
            <a:gradFill flip="none" rotWithShape="1">
              <a:gsLst>
                <a:gs pos="0">
                  <a:schemeClr val="tx2">
                    <a:alpha val="0"/>
                  </a:schemeClr>
                </a:gs>
                <a:gs pos="100000">
                  <a:schemeClr val="tx1">
                    <a:alpha val="77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p:txBody>
          <a:bodyPr/>
          <a:lstStyle>
            <a:lvl1pPr>
              <a:defRPr>
                <a:solidFill>
                  <a:schemeClr val="bg1"/>
                </a:solidFill>
              </a:defRPr>
            </a:lvl1p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bg1"/>
                </a:solidFill>
              </a:defRPr>
            </a:lvl1pPr>
          </a:lstStyle>
          <a:p>
            <a:fld id="{6B567D9D-4E1E-40BC-A36E-BF18465D1EC0}"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bg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bg1"/>
                </a:solidFill>
              </a:defRPr>
            </a:lvl1pPr>
          </a:lstStyle>
          <a:p>
            <a:fld id="{1EFDA2A4-EBD9-4CF7-9623-3EF83B4BB58D}" type="slidenum">
              <a:rPr lang="de-DE" smtClean="0"/>
              <a:pPr/>
              <a:t>‹Nº›</a:t>
            </a:fld>
            <a:endParaRPr lang="de-DE"/>
          </a:p>
        </p:txBody>
      </p:sp>
      <p:sp>
        <p:nvSpPr>
          <p:cNvPr id="7" name="Textplatzhalter 6">
            <a:extLst>
              <a:ext uri="{FF2B5EF4-FFF2-40B4-BE49-F238E27FC236}">
                <a16:creationId xmlns:a16="http://schemas.microsoft.com/office/drawing/2014/main" id="{59634711-135B-4A53-BF19-6A768BFA8611}"/>
              </a:ext>
            </a:extLst>
          </p:cNvPr>
          <p:cNvSpPr>
            <a:spLocks noGrp="1"/>
          </p:cNvSpPr>
          <p:nvPr>
            <p:ph type="body" sz="quarter" idx="13"/>
          </p:nvPr>
        </p:nvSpPr>
        <p:spPr>
          <a:xfrm>
            <a:off x="446087" y="2170113"/>
            <a:ext cx="5453709" cy="39957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3" y="1369905"/>
            <a:ext cx="9178925" cy="215478"/>
          </a:xfrm>
        </p:spPr>
        <p:txBody>
          <a:bodyPr>
            <a:normAutofit/>
          </a:bodyPr>
          <a:lstStyle>
            <a:lvl1pPr>
              <a:lnSpc>
                <a:spcPct val="100000"/>
              </a:lnSpc>
              <a:buNone/>
              <a:defRPr sz="1400">
                <a:solidFill>
                  <a:schemeClr val="bg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
        <p:nvSpPr>
          <p:cNvPr id="11" name="Textplatzhalter 6">
            <a:extLst>
              <a:ext uri="{FF2B5EF4-FFF2-40B4-BE49-F238E27FC236}">
                <a16:creationId xmlns:a16="http://schemas.microsoft.com/office/drawing/2014/main" id="{B99059D4-479C-4DE1-9779-A2767B1774B0}"/>
              </a:ext>
            </a:extLst>
          </p:cNvPr>
          <p:cNvSpPr>
            <a:spLocks noGrp="1"/>
          </p:cNvSpPr>
          <p:nvPr>
            <p:ph type="body" sz="quarter" idx="15"/>
          </p:nvPr>
        </p:nvSpPr>
        <p:spPr>
          <a:xfrm>
            <a:off x="6295378" y="2170113"/>
            <a:ext cx="5453709" cy="39957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4877405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2-spaltig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1EE6996-2410-4E36-B6E1-2035ABB4937E}"/>
              </a:ext>
            </a:extLst>
          </p:cNvPr>
          <p:cNvSpPr>
            <a:spLocks noGrp="1"/>
          </p:cNvSpPr>
          <p:nvPr>
            <p:ph type="title"/>
          </p:nvPr>
        </p:nvSpPr>
        <p:spPr/>
        <p:txBody>
          <a:bodyPr/>
          <a:lstStyle/>
          <a:p>
            <a:r>
              <a:rPr lang="es-ES"/>
              <a:t>Haga clic para modificar el estilo de título del patrón</a:t>
            </a:r>
            <a:endParaRPr lang="de-DE"/>
          </a:p>
        </p:txBody>
      </p:sp>
      <p:sp>
        <p:nvSpPr>
          <p:cNvPr id="3" name="Datumsplatzhalter 2">
            <a:extLst>
              <a:ext uri="{FF2B5EF4-FFF2-40B4-BE49-F238E27FC236}">
                <a16:creationId xmlns:a16="http://schemas.microsoft.com/office/drawing/2014/main" id="{201BABB2-854E-4E3E-967A-E8EA3FBA1FC2}"/>
              </a:ext>
            </a:extLst>
          </p:cNvPr>
          <p:cNvSpPr>
            <a:spLocks noGrp="1"/>
          </p:cNvSpPr>
          <p:nvPr>
            <p:ph type="dt" sz="half" idx="10"/>
          </p:nvPr>
        </p:nvSpPr>
        <p:spPr/>
        <p:txBody>
          <a:bodyPr/>
          <a:lstStyle>
            <a:lvl1pPr>
              <a:defRPr>
                <a:solidFill>
                  <a:schemeClr val="accent1"/>
                </a:solidFill>
              </a:defRPr>
            </a:lvl1pPr>
          </a:lstStyle>
          <a:p>
            <a:fld id="{B8FF7B00-5D49-4473-84F1-9B3B30739F10}" type="datetime1">
              <a:rPr lang="de-DE" smtClean="0"/>
              <a:pPr/>
              <a:t>05.11.2024</a:t>
            </a:fld>
            <a:endParaRPr lang="de-DE"/>
          </a:p>
        </p:txBody>
      </p:sp>
      <p:sp>
        <p:nvSpPr>
          <p:cNvPr id="4" name="Fußzeilenplatzhalter 3">
            <a:extLst>
              <a:ext uri="{FF2B5EF4-FFF2-40B4-BE49-F238E27FC236}">
                <a16:creationId xmlns:a16="http://schemas.microsoft.com/office/drawing/2014/main" id="{3AA6D141-799B-4527-B000-D901EB1C6451}"/>
              </a:ext>
            </a:extLst>
          </p:cNvPr>
          <p:cNvSpPr>
            <a:spLocks noGrp="1"/>
          </p:cNvSpPr>
          <p:nvPr>
            <p:ph type="ftr" sz="quarter" idx="11"/>
          </p:nvPr>
        </p:nvSpPr>
        <p:spPr/>
        <p:txBody>
          <a:bodyPr/>
          <a:lstStyle>
            <a:lvl1pPr>
              <a:defRPr>
                <a:solidFill>
                  <a:schemeClr val="accent1"/>
                </a:solidFill>
              </a:defRPr>
            </a:lvl1pPr>
          </a:lstStyle>
          <a:p>
            <a:r>
              <a:rPr lang="de-DE"/>
              <a:t>Fußnote</a:t>
            </a:r>
          </a:p>
        </p:txBody>
      </p:sp>
      <p:sp>
        <p:nvSpPr>
          <p:cNvPr id="5" name="Foliennummernplatzhalter 4">
            <a:extLst>
              <a:ext uri="{FF2B5EF4-FFF2-40B4-BE49-F238E27FC236}">
                <a16:creationId xmlns:a16="http://schemas.microsoft.com/office/drawing/2014/main" id="{C2ACB3CD-E125-4BF9-8DBE-17BBCD28CB16}"/>
              </a:ext>
            </a:extLst>
          </p:cNvPr>
          <p:cNvSpPr>
            <a:spLocks noGrp="1"/>
          </p:cNvSpPr>
          <p:nvPr>
            <p:ph type="sldNum" sz="quarter" idx="12"/>
          </p:nvPr>
        </p:nvSpPr>
        <p:spPr/>
        <p:txBody>
          <a:bodyPr/>
          <a:lstStyle>
            <a:lvl1pPr>
              <a:defRPr>
                <a:solidFill>
                  <a:schemeClr val="accent1"/>
                </a:solidFill>
              </a:defRPr>
            </a:lvl1pPr>
          </a:lstStyle>
          <a:p>
            <a:fld id="{1EFDA2A4-EBD9-4CF7-9623-3EF83B4BB58D}" type="slidenum">
              <a:rPr lang="de-DE" smtClean="0"/>
              <a:pPr/>
              <a:t>‹Nº›</a:t>
            </a:fld>
            <a:endParaRPr lang="de-DE"/>
          </a:p>
        </p:txBody>
      </p:sp>
      <p:sp>
        <p:nvSpPr>
          <p:cNvPr id="9" name="Textplatzhalter 8">
            <a:extLst>
              <a:ext uri="{FF2B5EF4-FFF2-40B4-BE49-F238E27FC236}">
                <a16:creationId xmlns:a16="http://schemas.microsoft.com/office/drawing/2014/main" id="{D287335C-4E0C-4364-8E9B-F81B1341C1F8}"/>
              </a:ext>
            </a:extLst>
          </p:cNvPr>
          <p:cNvSpPr>
            <a:spLocks noGrp="1"/>
          </p:cNvSpPr>
          <p:nvPr>
            <p:ph type="body" sz="quarter" idx="14" hasCustomPrompt="1"/>
          </p:nvPr>
        </p:nvSpPr>
        <p:spPr>
          <a:xfrm>
            <a:off x="442913" y="1369905"/>
            <a:ext cx="9178925" cy="215478"/>
          </a:xfrm>
        </p:spPr>
        <p:txBody>
          <a:bodyPr>
            <a:normAutofit/>
          </a:bodyPr>
          <a:lstStyle>
            <a:lvl1pPr>
              <a:lnSpc>
                <a:spcPct val="100000"/>
              </a:lnSpc>
              <a:buNone/>
              <a:defRPr sz="1400">
                <a:solidFill>
                  <a:schemeClr val="accent1"/>
                </a:solidFill>
                <a:latin typeface="Source Sans Pro Semibold" panose="020B0603030403020204" pitchFamily="34" charset="0"/>
              </a:defRPr>
            </a:lvl1pPr>
          </a:lstStyle>
          <a:p>
            <a:pPr lvl="0"/>
            <a:r>
              <a:rPr lang="de-DE" err="1"/>
              <a:t>Subline</a:t>
            </a:r>
            <a:r>
              <a:rPr lang="de-DE"/>
              <a:t>, Source Sans Pro </a:t>
            </a:r>
            <a:r>
              <a:rPr lang="de-DE" err="1"/>
              <a:t>Semibold</a:t>
            </a:r>
            <a:r>
              <a:rPr lang="de-DE"/>
              <a:t>, 14pt, einzeilig</a:t>
            </a:r>
          </a:p>
        </p:txBody>
      </p:sp>
      <p:sp>
        <p:nvSpPr>
          <p:cNvPr id="8" name="Textplatzhalter 6">
            <a:extLst>
              <a:ext uri="{FF2B5EF4-FFF2-40B4-BE49-F238E27FC236}">
                <a16:creationId xmlns:a16="http://schemas.microsoft.com/office/drawing/2014/main" id="{843CDDA9-90BA-4631-8955-1821FAE4970B}"/>
              </a:ext>
            </a:extLst>
          </p:cNvPr>
          <p:cNvSpPr>
            <a:spLocks noGrp="1"/>
          </p:cNvSpPr>
          <p:nvPr>
            <p:ph type="body" sz="quarter" idx="13"/>
          </p:nvPr>
        </p:nvSpPr>
        <p:spPr>
          <a:xfrm>
            <a:off x="446087" y="2170113"/>
            <a:ext cx="5453709" cy="3995737"/>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s-ES"/>
              <a:t>Haga clic para modificar los estilos de texto del patrón</a:t>
            </a:r>
          </a:p>
          <a:p>
            <a:pPr lvl="1"/>
            <a:r>
              <a:rPr lang="es-ES"/>
              <a:t>Segundo nivel</a:t>
            </a:r>
          </a:p>
          <a:p>
            <a:pPr lvl="2"/>
            <a:r>
              <a:rPr lang="es-ES"/>
              <a:t>Tercer nivel</a:t>
            </a:r>
          </a:p>
        </p:txBody>
      </p:sp>
      <p:sp>
        <p:nvSpPr>
          <p:cNvPr id="10" name="Textplatzhalter 6">
            <a:extLst>
              <a:ext uri="{FF2B5EF4-FFF2-40B4-BE49-F238E27FC236}">
                <a16:creationId xmlns:a16="http://schemas.microsoft.com/office/drawing/2014/main" id="{943BD9F7-9AA4-4723-B27A-3796BCE8C9FD}"/>
              </a:ext>
            </a:extLst>
          </p:cNvPr>
          <p:cNvSpPr>
            <a:spLocks noGrp="1"/>
          </p:cNvSpPr>
          <p:nvPr>
            <p:ph type="body" sz="quarter" idx="15"/>
          </p:nvPr>
        </p:nvSpPr>
        <p:spPr>
          <a:xfrm>
            <a:off x="6295378" y="2170113"/>
            <a:ext cx="5453709" cy="3995737"/>
          </a:xfrm>
        </p:spPr>
        <p:txBody>
          <a:bodyPr/>
          <a:lstStyle>
            <a:lvl1pPr>
              <a:defRPr>
                <a:solidFill>
                  <a:schemeClr val="tx1"/>
                </a:solidFill>
              </a:defRPr>
            </a:lvl1pPr>
            <a:lvl2pPr>
              <a:defRPr>
                <a:solidFill>
                  <a:schemeClr val="tx1"/>
                </a:solidFill>
              </a:defRPr>
            </a:lvl2pPr>
            <a:lvl3pPr>
              <a:defRPr>
                <a:solidFill>
                  <a:schemeClr val="tx1"/>
                </a:solidFill>
              </a:defRPr>
            </a:lvl3pPr>
          </a:lstStyle>
          <a:p>
            <a:pPr lvl="0"/>
            <a:r>
              <a:rPr lang="es-ES"/>
              <a:t>Haga clic para modificar los estilos de texto del patrón</a:t>
            </a:r>
          </a:p>
          <a:p>
            <a:pPr lvl="1"/>
            <a:r>
              <a:rPr lang="es-ES"/>
              <a:t>Segundo nivel</a:t>
            </a:r>
          </a:p>
          <a:p>
            <a:pPr lvl="2"/>
            <a:r>
              <a:rPr lang="es-ES"/>
              <a:t>Tercer nivel</a:t>
            </a:r>
          </a:p>
        </p:txBody>
      </p:sp>
    </p:spTree>
    <p:extLst>
      <p:ext uri="{BB962C8B-B14F-4D97-AF65-F5344CB8AC3E}">
        <p14:creationId xmlns:p14="http://schemas.microsoft.com/office/powerpoint/2010/main" val="832951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4.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259E5BC1-8CC3-4FBB-9F48-F11EE1AFD56D}"/>
              </a:ext>
            </a:extLst>
          </p:cNvPr>
          <p:cNvSpPr>
            <a:spLocks noGrp="1"/>
          </p:cNvSpPr>
          <p:nvPr>
            <p:ph type="title"/>
          </p:nvPr>
        </p:nvSpPr>
        <p:spPr>
          <a:xfrm>
            <a:off x="446233" y="410991"/>
            <a:ext cx="9178159" cy="857769"/>
          </a:xfrm>
          <a:prstGeom prst="rect">
            <a:avLst/>
          </a:prstGeom>
        </p:spPr>
        <p:txBody>
          <a:bodyPr vert="horz"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C2969DA8-B90F-4069-A8AC-BF82FC6309EF}"/>
              </a:ext>
            </a:extLst>
          </p:cNvPr>
          <p:cNvSpPr>
            <a:spLocks noGrp="1"/>
          </p:cNvSpPr>
          <p:nvPr>
            <p:ph type="body" idx="1"/>
          </p:nvPr>
        </p:nvSpPr>
        <p:spPr>
          <a:xfrm>
            <a:off x="446233" y="2170112"/>
            <a:ext cx="11302855" cy="3996515"/>
          </a:xfrm>
          <a:prstGeom prst="rect">
            <a:avLst/>
          </a:prstGeom>
        </p:spPr>
        <p:txBody>
          <a:bodyPr vert="horz" lIns="0" tIns="0" rIns="0" bIns="0" rtlCol="0">
            <a:normAutofit/>
          </a:bodyPr>
          <a:lstStyle/>
          <a:p>
            <a:pPr lvl="0"/>
            <a:r>
              <a:rPr lang="de-DE"/>
              <a:t>Mastertextformat bearbeiten</a:t>
            </a:r>
          </a:p>
          <a:p>
            <a:pPr lvl="1"/>
            <a:r>
              <a:rPr lang="de-DE"/>
              <a:t>Zweite Ebene</a:t>
            </a:r>
          </a:p>
          <a:p>
            <a:pPr lvl="2"/>
            <a:r>
              <a:rPr lang="de-DE"/>
              <a:t>Dritte Ebene</a:t>
            </a:r>
          </a:p>
        </p:txBody>
      </p:sp>
      <p:sp>
        <p:nvSpPr>
          <p:cNvPr id="4" name="Datumsplatzhalter 3">
            <a:extLst>
              <a:ext uri="{FF2B5EF4-FFF2-40B4-BE49-F238E27FC236}">
                <a16:creationId xmlns:a16="http://schemas.microsoft.com/office/drawing/2014/main" id="{7F2404DC-DA79-46CA-9D5B-6A75A3D0B752}"/>
              </a:ext>
            </a:extLst>
          </p:cNvPr>
          <p:cNvSpPr>
            <a:spLocks noGrp="1"/>
          </p:cNvSpPr>
          <p:nvPr>
            <p:ph type="dt" sz="half" idx="2"/>
          </p:nvPr>
        </p:nvSpPr>
        <p:spPr>
          <a:xfrm>
            <a:off x="10056440" y="6504702"/>
            <a:ext cx="879459" cy="168994"/>
          </a:xfrm>
          <a:prstGeom prst="rect">
            <a:avLst/>
          </a:prstGeom>
        </p:spPr>
        <p:txBody>
          <a:bodyPr vert="horz" lIns="0" tIns="0" rIns="0" bIns="0" rtlCol="0" anchor="ctr"/>
          <a:lstStyle>
            <a:lvl1pPr algn="r">
              <a:lnSpc>
                <a:spcPts val="1200"/>
              </a:lnSpc>
              <a:defRPr sz="1000">
                <a:solidFill>
                  <a:schemeClr val="accent1"/>
                </a:solidFill>
                <a:latin typeface="Source Sans Pro Semibold" panose="020B0603030403020204" pitchFamily="34" charset="0"/>
              </a:defRPr>
            </a:lvl1pPr>
          </a:lstStyle>
          <a:p>
            <a:fld id="{A7A0B04C-5519-4309-8BA4-355843DC237C}" type="datetime1">
              <a:rPr lang="de-DE" smtClean="0"/>
              <a:pPr/>
              <a:t>05.11.2024</a:t>
            </a:fld>
            <a:endParaRPr lang="de-DE"/>
          </a:p>
        </p:txBody>
      </p:sp>
      <p:sp>
        <p:nvSpPr>
          <p:cNvPr id="5" name="Fußzeilenplatzhalter 4">
            <a:extLst>
              <a:ext uri="{FF2B5EF4-FFF2-40B4-BE49-F238E27FC236}">
                <a16:creationId xmlns:a16="http://schemas.microsoft.com/office/drawing/2014/main" id="{5C9F5A0A-7AE9-4F21-8687-CEF7443B8035}"/>
              </a:ext>
            </a:extLst>
          </p:cNvPr>
          <p:cNvSpPr>
            <a:spLocks noGrp="1"/>
          </p:cNvSpPr>
          <p:nvPr>
            <p:ph type="ftr" sz="quarter" idx="3"/>
          </p:nvPr>
        </p:nvSpPr>
        <p:spPr>
          <a:xfrm>
            <a:off x="446232" y="6504702"/>
            <a:ext cx="8386071" cy="168994"/>
          </a:xfrm>
          <a:prstGeom prst="rect">
            <a:avLst/>
          </a:prstGeom>
        </p:spPr>
        <p:txBody>
          <a:bodyPr vert="horz" lIns="0" tIns="0" rIns="0" bIns="0" rtlCol="0" anchor="ctr"/>
          <a:lstStyle>
            <a:lvl1pPr algn="l">
              <a:lnSpc>
                <a:spcPts val="1200"/>
              </a:lnSpc>
              <a:defRPr sz="1000">
                <a:solidFill>
                  <a:schemeClr val="accent1"/>
                </a:solidFill>
                <a:latin typeface="Source Sans Pro Semibold" panose="020B0603030403020204" pitchFamily="34" charset="0"/>
              </a:defRPr>
            </a:lvl1pPr>
          </a:lstStyle>
          <a:p>
            <a:r>
              <a:rPr lang="de-DE"/>
              <a:t>Fußnote</a:t>
            </a:r>
          </a:p>
        </p:txBody>
      </p:sp>
      <p:sp>
        <p:nvSpPr>
          <p:cNvPr id="6" name="Foliennummernplatzhalter 5">
            <a:extLst>
              <a:ext uri="{FF2B5EF4-FFF2-40B4-BE49-F238E27FC236}">
                <a16:creationId xmlns:a16="http://schemas.microsoft.com/office/drawing/2014/main" id="{A1AFF64A-BE73-4972-87E0-382325810437}"/>
              </a:ext>
            </a:extLst>
          </p:cNvPr>
          <p:cNvSpPr>
            <a:spLocks noGrp="1"/>
          </p:cNvSpPr>
          <p:nvPr>
            <p:ph type="sldNum" sz="quarter" idx="4"/>
          </p:nvPr>
        </p:nvSpPr>
        <p:spPr>
          <a:xfrm>
            <a:off x="11136560" y="6504702"/>
            <a:ext cx="612528" cy="168994"/>
          </a:xfrm>
          <a:prstGeom prst="rect">
            <a:avLst/>
          </a:prstGeom>
        </p:spPr>
        <p:txBody>
          <a:bodyPr vert="horz" lIns="0" tIns="0" rIns="0" bIns="0" rtlCol="0" anchor="ctr"/>
          <a:lstStyle>
            <a:lvl1pPr algn="r">
              <a:lnSpc>
                <a:spcPts val="1200"/>
              </a:lnSpc>
              <a:defRPr sz="1000">
                <a:solidFill>
                  <a:schemeClr val="accent1"/>
                </a:solidFill>
                <a:latin typeface="Source Sans Pro Semibold" panose="020B0603030403020204" pitchFamily="34" charset="0"/>
              </a:defRPr>
            </a:lvl1pPr>
          </a:lstStyle>
          <a:p>
            <a:fld id="{1EFDA2A4-EBD9-4CF7-9623-3EF83B4BB58D}" type="slidenum">
              <a:rPr lang="de-DE" smtClean="0"/>
              <a:pPr/>
              <a:t>‹Nº›</a:t>
            </a:fld>
            <a:endParaRPr lang="de-DE"/>
          </a:p>
        </p:txBody>
      </p:sp>
    </p:spTree>
    <p:extLst>
      <p:ext uri="{BB962C8B-B14F-4D97-AF65-F5344CB8AC3E}">
        <p14:creationId xmlns:p14="http://schemas.microsoft.com/office/powerpoint/2010/main" val="299314698"/>
      </p:ext>
    </p:extLst>
  </p:cSld>
  <p:clrMap bg1="lt1" tx1="dk1" bg2="lt2" tx2="dk2" accent1="accent1" accent2="accent2" accent3="accent3" accent4="accent4" accent5="accent5" accent6="accent6" hlink="hlink" folHlink="folHlink"/>
  <p:sldLayoutIdLst>
    <p:sldLayoutId id="2147483649" r:id="rId1"/>
    <p:sldLayoutId id="2147483675" r:id="rId2"/>
    <p:sldLayoutId id="2147483650" r:id="rId3"/>
    <p:sldLayoutId id="2147483651" r:id="rId4"/>
    <p:sldLayoutId id="2147483653" r:id="rId5"/>
    <p:sldLayoutId id="2147483652" r:id="rId6"/>
    <p:sldLayoutId id="2147483654" r:id="rId7"/>
    <p:sldLayoutId id="2147483655" r:id="rId8"/>
    <p:sldLayoutId id="2147483656" r:id="rId9"/>
    <p:sldLayoutId id="2147483657" r:id="rId10"/>
    <p:sldLayoutId id="2147483658" r:id="rId11"/>
    <p:sldLayoutId id="2147483659" r:id="rId12"/>
    <p:sldLayoutId id="2147483660" r:id="rId13"/>
    <p:sldLayoutId id="2147483661" r:id="rId14"/>
    <p:sldLayoutId id="2147483662" r:id="rId15"/>
    <p:sldLayoutId id="2147483663" r:id="rId16"/>
    <p:sldLayoutId id="2147483664" r:id="rId17"/>
    <p:sldLayoutId id="2147483665" r:id="rId18"/>
    <p:sldLayoutId id="2147483666" r:id="rId19"/>
    <p:sldLayoutId id="2147483667" r:id="rId20"/>
    <p:sldLayoutId id="2147483668" r:id="rId21"/>
    <p:sldLayoutId id="2147483669" r:id="rId22"/>
    <p:sldLayoutId id="2147483670" r:id="rId23"/>
    <p:sldLayoutId id="2147483671" r:id="rId24"/>
    <p:sldLayoutId id="2147483674" r:id="rId25"/>
    <p:sldLayoutId id="2147483676" r:id="rId26"/>
    <p:sldLayoutId id="2147483672" r:id="rId27"/>
    <p:sldLayoutId id="2147483673" r:id="rId28"/>
    <p:sldLayoutId id="2147483679" r:id="rId29"/>
    <p:sldLayoutId id="2147483678" r:id="rId30"/>
    <p:sldLayoutId id="2147483680" r:id="rId31"/>
  </p:sldLayoutIdLst>
  <p:hf hdr="0" dt="0"/>
  <p:txStyles>
    <p:titleStyle>
      <a:lvl1pPr algn="l" defTabSz="914400" rtl="0" eaLnBrk="1" latinLnBrk="0" hangingPunct="1">
        <a:lnSpc>
          <a:spcPts val="3200"/>
        </a:lnSpc>
        <a:spcBef>
          <a:spcPct val="0"/>
        </a:spcBef>
        <a:buNone/>
        <a:defRPr sz="2800" kern="1200">
          <a:solidFill>
            <a:schemeClr val="tx1"/>
          </a:solidFill>
          <a:latin typeface="+mj-lt"/>
          <a:ea typeface="+mj-ea"/>
          <a:cs typeface="+mj-cs"/>
        </a:defRPr>
      </a:lvl1pPr>
    </p:titleStyle>
    <p:bodyStyle>
      <a:lvl1pPr marL="180000" indent="-180000" algn="l" defTabSz="914400" rtl="0" eaLnBrk="1" latinLnBrk="0" hangingPunct="1">
        <a:lnSpc>
          <a:spcPts val="2200"/>
        </a:lnSpc>
        <a:spcBef>
          <a:spcPts val="1000"/>
        </a:spcBef>
        <a:buFont typeface="Arial" panose="020B0604020202020204" pitchFamily="34" charset="0"/>
        <a:buChar char="•"/>
        <a:defRPr sz="1800" kern="1200">
          <a:solidFill>
            <a:schemeClr val="tx1"/>
          </a:solidFill>
          <a:latin typeface="+mn-lt"/>
          <a:ea typeface="+mn-ea"/>
          <a:cs typeface="+mn-cs"/>
        </a:defRPr>
      </a:lvl1pPr>
      <a:lvl2pPr marL="180000" indent="-1800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80000" indent="-1800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7">
          <p15:clr>
            <a:srgbClr val="F26B43"/>
          </p15:clr>
        </p15:guide>
        <p15:guide id="2" pos="279">
          <p15:clr>
            <a:srgbClr val="F26B43"/>
          </p15:clr>
        </p15:guide>
        <p15:guide id="3" pos="7401">
          <p15:clr>
            <a:srgbClr val="F26B43"/>
          </p15:clr>
        </p15:guide>
        <p15:guide id="4" orient="horz" pos="232">
          <p15:clr>
            <a:srgbClr val="F26B43"/>
          </p15:clr>
        </p15:guide>
        <p15:guide id="5" orient="horz" pos="981">
          <p15:clr>
            <a:srgbClr val="F26B43"/>
          </p15:clr>
        </p15:guide>
        <p15:guide id="6" orient="horz" pos="38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MX"/>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7DE3C4C-F4D1-46AF-B95D-0DCCC190020A}" type="datetimeFigureOut">
              <a:rPr lang="es-MX" smtClean="0"/>
              <a:t>05/11/2024</a:t>
            </a:fld>
            <a:endParaRPr lang="es-MX"/>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9AA43FB-E0E3-444F-8C8A-62B357861621}" type="slidenum">
              <a:rPr lang="es-MX" smtClean="0"/>
              <a:t>‹Nº›</a:t>
            </a:fld>
            <a:endParaRPr lang="es-MX"/>
          </a:p>
        </p:txBody>
      </p:sp>
    </p:spTree>
    <p:extLst>
      <p:ext uri="{BB962C8B-B14F-4D97-AF65-F5344CB8AC3E}">
        <p14:creationId xmlns:p14="http://schemas.microsoft.com/office/powerpoint/2010/main" val="547184314"/>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C0A6C582-F707-791F-5EE4-4838DFAE966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1146BDC8-F583-D341-E544-1CBDB9DE26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E33A81F3-09B8-379D-5E2C-FA115DA7C0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739C89D-90B8-420D-9D09-9D041DB88F0A}" type="datetimeFigureOut">
              <a:rPr lang="es-MX" smtClean="0"/>
              <a:t>05/11/2024</a:t>
            </a:fld>
            <a:endParaRPr lang="es-MX"/>
          </a:p>
        </p:txBody>
      </p:sp>
      <p:sp>
        <p:nvSpPr>
          <p:cNvPr id="5" name="Marcador de pie de página 4">
            <a:extLst>
              <a:ext uri="{FF2B5EF4-FFF2-40B4-BE49-F238E27FC236}">
                <a16:creationId xmlns:a16="http://schemas.microsoft.com/office/drawing/2014/main" id="{3A3D5DB7-4B2D-1D73-4BFD-4B83929AD6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Marcador de número de diapositiva 5">
            <a:extLst>
              <a:ext uri="{FF2B5EF4-FFF2-40B4-BE49-F238E27FC236}">
                <a16:creationId xmlns:a16="http://schemas.microsoft.com/office/drawing/2014/main" id="{AF7BD337-8736-7537-9962-7436DB58AD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17D4F49-43CD-43C2-A0F5-C2D7C373BC3A}" type="slidenum">
              <a:rPr lang="es-MX" smtClean="0"/>
              <a:t>‹Nº›</a:t>
            </a:fld>
            <a:endParaRPr lang="es-MX"/>
          </a:p>
        </p:txBody>
      </p:sp>
    </p:spTree>
    <p:extLst>
      <p:ext uri="{BB962C8B-B14F-4D97-AF65-F5344CB8AC3E}">
        <p14:creationId xmlns:p14="http://schemas.microsoft.com/office/powerpoint/2010/main" val="85150259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02E4F27E-6079-485E-F651-3222CD4C448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DACBB697-F4EE-3833-7390-28A4F868DE8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56D2DD4B-04F9-C6B2-7CB6-643A88C133E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5DEB23-B7A8-4881-9BD5-2A42FEC08223}" type="datetimeFigureOut">
              <a:rPr lang="es-MX" smtClean="0"/>
              <a:t>05/11/2024</a:t>
            </a:fld>
            <a:endParaRPr lang="es-MX"/>
          </a:p>
        </p:txBody>
      </p:sp>
      <p:sp>
        <p:nvSpPr>
          <p:cNvPr id="5" name="Marcador de pie de página 4">
            <a:extLst>
              <a:ext uri="{FF2B5EF4-FFF2-40B4-BE49-F238E27FC236}">
                <a16:creationId xmlns:a16="http://schemas.microsoft.com/office/drawing/2014/main" id="{FFDA1179-ACF8-8F3E-51F5-2A51176B5E4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Marcador de número de diapositiva 5">
            <a:extLst>
              <a:ext uri="{FF2B5EF4-FFF2-40B4-BE49-F238E27FC236}">
                <a16:creationId xmlns:a16="http://schemas.microsoft.com/office/drawing/2014/main" id="{9D4DE454-39FA-4AB4-42AB-97705399C2F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8C0AAE-2C87-4640-A486-70E6755BEB58}" type="slidenum">
              <a:rPr lang="es-MX" smtClean="0"/>
              <a:t>‹Nº›</a:t>
            </a:fld>
            <a:endParaRPr lang="es-MX"/>
          </a:p>
        </p:txBody>
      </p:sp>
    </p:spTree>
    <p:extLst>
      <p:ext uri="{BB962C8B-B14F-4D97-AF65-F5344CB8AC3E}">
        <p14:creationId xmlns:p14="http://schemas.microsoft.com/office/powerpoint/2010/main" val="1924273108"/>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13.png"/><Relationship Id="rId1" Type="http://schemas.openxmlformats.org/officeDocument/2006/relationships/slideLayout" Target="../slideLayouts/slideLayout56.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diagramLayout" Target="../diagrams/layout1.xml"/><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diagramData" Target="../diagrams/data1.xml"/><Relationship Id="rId16" Type="http://schemas.openxmlformats.org/officeDocument/2006/relationships/image" Target="../media/image22.png"/><Relationship Id="rId1" Type="http://schemas.openxmlformats.org/officeDocument/2006/relationships/slideLayout" Target="../slideLayouts/slideLayout32.xml"/><Relationship Id="rId6" Type="http://schemas.microsoft.com/office/2007/relationships/diagramDrawing" Target="../diagrams/drawing1.xml"/><Relationship Id="rId11" Type="http://schemas.openxmlformats.org/officeDocument/2006/relationships/image" Target="../media/image18.png"/><Relationship Id="rId5" Type="http://schemas.openxmlformats.org/officeDocument/2006/relationships/diagramColors" Target="../diagrams/colors1.xml"/><Relationship Id="rId15" Type="http://schemas.openxmlformats.org/officeDocument/2006/relationships/image" Target="../media/image13.png"/><Relationship Id="rId10" Type="http://schemas.openxmlformats.org/officeDocument/2006/relationships/image" Target="../media/image17.png"/><Relationship Id="rId4" Type="http://schemas.openxmlformats.org/officeDocument/2006/relationships/diagramQuickStyle" Target="../diagrams/quickStyle1.xml"/><Relationship Id="rId9" Type="http://schemas.openxmlformats.org/officeDocument/2006/relationships/image" Target="../media/image16.png"/><Relationship Id="rId1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1.xml"/><Relationship Id="rId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pn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Layout" Target="../slideLayouts/slideLayout49.xml"/><Relationship Id="rId6" Type="http://schemas.openxmlformats.org/officeDocument/2006/relationships/image" Target="../media/image13.png"/><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55.xml"/></Relationships>
</file>

<file path=ppt/slides/_rels/slide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9.png"/><Relationship Id="rId7" Type="http://schemas.openxmlformats.org/officeDocument/2006/relationships/image" Target="../media/image13.png"/><Relationship Id="rId2" Type="http://schemas.openxmlformats.org/officeDocument/2006/relationships/image" Target="../media/image28.png"/><Relationship Id="rId1" Type="http://schemas.openxmlformats.org/officeDocument/2006/relationships/slideLayout" Target="../slideLayouts/slideLayout31.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g"/></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2.png"/><Relationship Id="rId7" Type="http://schemas.openxmlformats.org/officeDocument/2006/relationships/diagramColors" Target="../diagrams/colors2.xml"/><Relationship Id="rId2" Type="http://schemas.openxmlformats.org/officeDocument/2006/relationships/image" Target="../media/image13.png"/><Relationship Id="rId1" Type="http://schemas.openxmlformats.org/officeDocument/2006/relationships/slideLayout" Target="../slideLayouts/slideLayout56.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3.png"/><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0919ECA6-1887-4C48-94D3-E66D16EDB50C}"/>
              </a:ext>
            </a:extLst>
          </p:cNvPr>
          <p:cNvSpPr>
            <a:spLocks noGrp="1"/>
          </p:cNvSpPr>
          <p:nvPr>
            <p:ph type="body" sz="quarter" idx="10"/>
          </p:nvPr>
        </p:nvSpPr>
        <p:spPr/>
        <p:txBody>
          <a:bodyPr>
            <a:normAutofit/>
          </a:bodyPr>
          <a:lstStyle/>
          <a:p>
            <a:r>
              <a:rPr lang="en-US" dirty="0"/>
              <a:t>Rafael Hernández Kotasek, November 6</a:t>
            </a:r>
            <a:r>
              <a:rPr lang="en-US" baseline="30000" dirty="0"/>
              <a:t>th</a:t>
            </a:r>
            <a:r>
              <a:rPr lang="en-US" dirty="0"/>
              <a:t> 2024.</a:t>
            </a:r>
            <a:endParaRPr lang="de-DE" dirty="0"/>
          </a:p>
        </p:txBody>
      </p:sp>
      <p:sp>
        <p:nvSpPr>
          <p:cNvPr id="3" name="Título 1">
            <a:extLst>
              <a:ext uri="{FF2B5EF4-FFF2-40B4-BE49-F238E27FC236}">
                <a16:creationId xmlns:a16="http://schemas.microsoft.com/office/drawing/2014/main" id="{2756D882-B504-200E-81EB-306AD673A3B7}"/>
              </a:ext>
            </a:extLst>
          </p:cNvPr>
          <p:cNvSpPr txBox="1">
            <a:spLocks/>
          </p:cNvSpPr>
          <p:nvPr/>
        </p:nvSpPr>
        <p:spPr>
          <a:xfrm>
            <a:off x="135533" y="4037048"/>
            <a:ext cx="10371363" cy="744921"/>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endParaRPr kumimoji="0" lang="es-MX" sz="4600" b="1" u="none" strike="noStrike" kern="1200" cap="none" spc="0" normalizeH="0" baseline="0" noProof="0" dirty="0">
              <a:ln>
                <a:noFill/>
              </a:ln>
              <a:solidFill>
                <a:sysClr val="window" lastClr="FFFFFF"/>
              </a:solidFill>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defTabSz="914400" rtl="0" eaLnBrk="1" fontAlgn="auto" latinLnBrk="0" hangingPunct="1">
              <a:lnSpc>
                <a:spcPct val="90000"/>
              </a:lnSpc>
              <a:spcBef>
                <a:spcPct val="0"/>
              </a:spcBef>
              <a:spcAft>
                <a:spcPts val="0"/>
              </a:spcAft>
              <a:buClrTx/>
              <a:buSzTx/>
              <a:buFontTx/>
              <a:buNone/>
              <a:tabLst/>
              <a:defRPr/>
            </a:pPr>
            <a:endParaRPr lang="es-MX" sz="4600" b="1" dirty="0">
              <a:solidFill>
                <a:sysClr val="window" lastClr="FFFFFF"/>
              </a:solidFill>
              <a:latin typeface="Source Sans Pro" panose="020B0503030403020204" pitchFamily="34" charset="0"/>
              <a:ea typeface="Source Sans Pro" panose="020B0503030403020204" pitchFamily="34" charset="0"/>
              <a:cs typeface="Arial" panose="020B0604020202020204" pitchFamily="34" charset="0"/>
            </a:endParaRPr>
          </a:p>
          <a:p>
            <a:pPr marL="0" marR="0" lvl="0" indent="0" defTabSz="914400" rtl="0" eaLnBrk="1" fontAlgn="auto" latinLnBrk="0" hangingPunct="1">
              <a:lnSpc>
                <a:spcPct val="90000"/>
              </a:lnSpc>
              <a:spcBef>
                <a:spcPct val="0"/>
              </a:spcBef>
              <a:spcAft>
                <a:spcPts val="0"/>
              </a:spcAft>
              <a:buClrTx/>
              <a:buSzTx/>
              <a:buFontTx/>
              <a:buNone/>
              <a:tabLst/>
              <a:defRPr/>
            </a:pPr>
            <a:endParaRPr kumimoji="0" lang="es-MX" sz="4600" b="1" u="none" strike="noStrike" kern="1200" cap="none" spc="0" normalizeH="0" baseline="0" noProof="0" dirty="0">
              <a:ln>
                <a:noFill/>
              </a:ln>
              <a:solidFill>
                <a:sysClr val="window" lastClr="FFFFFF"/>
              </a:solidFill>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defTabSz="914400" rtl="0" eaLnBrk="1" fontAlgn="auto" latinLnBrk="0" hangingPunct="1">
              <a:lnSpc>
                <a:spcPct val="90000"/>
              </a:lnSpc>
              <a:spcBef>
                <a:spcPct val="0"/>
              </a:spcBef>
              <a:spcAft>
                <a:spcPts val="0"/>
              </a:spcAft>
              <a:buClrTx/>
              <a:buSzTx/>
              <a:buFontTx/>
              <a:buNone/>
              <a:tabLst/>
              <a:defRPr/>
            </a:pPr>
            <a:r>
              <a:rPr kumimoji="0" lang="es-MX" sz="4600" b="1" u="none" strike="noStrike" kern="1200" cap="none" spc="0" normalizeH="0" baseline="0" noProof="0" dirty="0">
                <a:ln>
                  <a:noFill/>
                </a:ln>
                <a:solidFill>
                  <a:sysClr val="window" lastClr="FFFFFF"/>
                </a:solidFill>
                <a:uLnTx/>
                <a:uFillTx/>
                <a:latin typeface="Source Sans Pro" panose="020B0503030403020204" pitchFamily="34" charset="0"/>
                <a:ea typeface="Source Sans Pro" panose="020B0503030403020204" pitchFamily="34" charset="0"/>
                <a:cs typeface="Arial" panose="020B0604020202020204" pitchFamily="34" charset="0"/>
              </a:rPr>
              <a:t>YUCATÁN TRANSPORTATION AGENCY </a:t>
            </a:r>
          </a:p>
          <a:p>
            <a:pPr marL="0" marR="0" lvl="0" indent="0" defTabSz="914400" rtl="0" eaLnBrk="1" fontAlgn="auto" latinLnBrk="0" hangingPunct="1">
              <a:lnSpc>
                <a:spcPct val="90000"/>
              </a:lnSpc>
              <a:spcBef>
                <a:spcPct val="0"/>
              </a:spcBef>
              <a:spcAft>
                <a:spcPts val="0"/>
              </a:spcAft>
              <a:buClrTx/>
              <a:buSzTx/>
              <a:buFontTx/>
              <a:buNone/>
              <a:tabLst/>
              <a:defRPr/>
            </a:pPr>
            <a:endParaRPr kumimoji="0" lang="es-MX" sz="3200" b="1" u="none" strike="noStrike" kern="1200" cap="none" spc="0" normalizeH="0" baseline="0" noProof="0" dirty="0">
              <a:ln>
                <a:noFill/>
              </a:ln>
              <a:solidFill>
                <a:sysClr val="window" lastClr="FFFFFF"/>
              </a:solidFill>
              <a:uLnTx/>
              <a:uFillTx/>
              <a:latin typeface="Panton Black" pitchFamily="2" charset="77"/>
              <a:ea typeface="Tahoma" panose="020B0604030504040204" pitchFamily="34" charset="0"/>
              <a:cs typeface="Arial" panose="020B0604020202020204" pitchFamily="34" charset="0"/>
            </a:endParaRPr>
          </a:p>
          <a:p>
            <a:pPr marL="0" marR="0" lvl="0" indent="0" defTabSz="914400" rtl="0" eaLnBrk="1" fontAlgn="auto" latinLnBrk="0" hangingPunct="1">
              <a:lnSpc>
                <a:spcPct val="90000"/>
              </a:lnSpc>
              <a:spcBef>
                <a:spcPct val="0"/>
              </a:spcBef>
              <a:spcAft>
                <a:spcPts val="0"/>
              </a:spcAft>
              <a:buClrTx/>
              <a:buSzTx/>
              <a:buFontTx/>
              <a:buNone/>
              <a:tabLst/>
              <a:defRPr/>
            </a:pPr>
            <a:br>
              <a:rPr kumimoji="0" lang="es-MX" sz="4000" b="1" u="none" strike="noStrike" kern="120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Panton Black" pitchFamily="2" charset="77"/>
                <a:ea typeface="Tahoma" panose="020B0604030504040204" pitchFamily="34" charset="0"/>
                <a:cs typeface="Tahoma" panose="020B0604030504040204" pitchFamily="34" charset="0"/>
              </a:rPr>
            </a:br>
            <a:endParaRPr kumimoji="0" lang="es-MX" sz="4000" b="1" u="none" strike="noStrike" kern="1200" cap="none" spc="0" normalizeH="0" baseline="0" noProof="0" dirty="0">
              <a:ln>
                <a:noFill/>
              </a:ln>
              <a:solidFill>
                <a:sysClr val="window" lastClr="FFFFFF"/>
              </a:solidFill>
              <a:effectLst>
                <a:outerShdw blurRad="38100" dist="38100" dir="2700000" algn="tl">
                  <a:srgbClr val="000000">
                    <a:alpha val="43137"/>
                  </a:srgbClr>
                </a:outerShdw>
              </a:effectLst>
              <a:uLnTx/>
              <a:uFillTx/>
              <a:latin typeface="Panton Black" pitchFamily="2" charset="77"/>
              <a:ea typeface="Tahoma" panose="020B0604030504040204" pitchFamily="34" charset="0"/>
              <a:cs typeface="Tahoma" panose="020B0604030504040204" pitchFamily="34" charset="0"/>
            </a:endParaRPr>
          </a:p>
        </p:txBody>
      </p:sp>
      <p:pic>
        <p:nvPicPr>
          <p:cNvPr id="8" name="Imagen 7" descr="Imagen que contiene objeto, reloj, dibujo&#10;&#10;Descripción generada automáticamente">
            <a:extLst>
              <a:ext uri="{FF2B5EF4-FFF2-40B4-BE49-F238E27FC236}">
                <a16:creationId xmlns:a16="http://schemas.microsoft.com/office/drawing/2014/main" id="{7449C474-72A0-0FF6-3AEA-973D4A23BB5E}"/>
              </a:ext>
            </a:extLst>
          </p:cNvPr>
          <p:cNvPicPr>
            <a:picLocks noChangeAspect="1"/>
          </p:cNvPicPr>
          <p:nvPr/>
        </p:nvPicPr>
        <p:blipFill>
          <a:blip r:embed="rId3"/>
          <a:stretch>
            <a:fillRect/>
          </a:stretch>
        </p:blipFill>
        <p:spPr>
          <a:xfrm>
            <a:off x="2818356" y="1812167"/>
            <a:ext cx="4196147" cy="1008786"/>
          </a:xfrm>
          <a:prstGeom prst="rect">
            <a:avLst/>
          </a:prstGeom>
        </p:spPr>
      </p:pic>
    </p:spTree>
    <p:extLst>
      <p:ext uri="{BB962C8B-B14F-4D97-AF65-F5344CB8AC3E}">
        <p14:creationId xmlns:p14="http://schemas.microsoft.com/office/powerpoint/2010/main" val="14698649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36">
            <a:extLst>
              <a:ext uri="{FF2B5EF4-FFF2-40B4-BE49-F238E27FC236}">
                <a16:creationId xmlns:a16="http://schemas.microsoft.com/office/drawing/2014/main" id="{EA3C6E38-25DB-AD15-A50C-E33C6CD6DD2B}"/>
              </a:ext>
            </a:extLst>
          </p:cNvPr>
          <p:cNvSpPr txBox="1"/>
          <p:nvPr/>
        </p:nvSpPr>
        <p:spPr>
          <a:xfrm>
            <a:off x="9303656" y="1056148"/>
            <a:ext cx="52002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pic>
        <p:nvPicPr>
          <p:cNvPr id="4" name="Imagen 3" descr="Imagen que contiene objeto, reloj, dibujo&#10;&#10;Descripción generada automáticamente">
            <a:extLst>
              <a:ext uri="{FF2B5EF4-FFF2-40B4-BE49-F238E27FC236}">
                <a16:creationId xmlns:a16="http://schemas.microsoft.com/office/drawing/2014/main" id="{C148E474-C4D5-5E3A-2FEB-48A0039329CF}"/>
              </a:ext>
            </a:extLst>
          </p:cNvPr>
          <p:cNvPicPr>
            <a:picLocks noChangeAspect="1"/>
          </p:cNvPicPr>
          <p:nvPr/>
        </p:nvPicPr>
        <p:blipFill>
          <a:blip r:embed="rId2"/>
          <a:stretch>
            <a:fillRect/>
          </a:stretch>
        </p:blipFill>
        <p:spPr>
          <a:xfrm>
            <a:off x="9646323" y="57473"/>
            <a:ext cx="2545677" cy="612000"/>
          </a:xfrm>
          <a:prstGeom prst="rect">
            <a:avLst/>
          </a:prstGeom>
        </p:spPr>
      </p:pic>
      <p:grpSp>
        <p:nvGrpSpPr>
          <p:cNvPr id="6" name="Google Shape;919;p35">
            <a:extLst>
              <a:ext uri="{FF2B5EF4-FFF2-40B4-BE49-F238E27FC236}">
                <a16:creationId xmlns:a16="http://schemas.microsoft.com/office/drawing/2014/main" id="{1BF4807E-C106-E13F-9307-5DEF8479AD75}"/>
              </a:ext>
            </a:extLst>
          </p:cNvPr>
          <p:cNvGrpSpPr/>
          <p:nvPr/>
        </p:nvGrpSpPr>
        <p:grpSpPr>
          <a:xfrm>
            <a:off x="684329" y="1787838"/>
            <a:ext cx="2461468" cy="617073"/>
            <a:chOff x="1206281" y="1144026"/>
            <a:chExt cx="3224549" cy="800645"/>
          </a:xfrm>
        </p:grpSpPr>
        <p:sp>
          <p:nvSpPr>
            <p:cNvPr id="8" name="Google Shape;920;p35">
              <a:extLst>
                <a:ext uri="{FF2B5EF4-FFF2-40B4-BE49-F238E27FC236}">
                  <a16:creationId xmlns:a16="http://schemas.microsoft.com/office/drawing/2014/main" id="{829D6FA8-6855-88B9-2498-999E88EDA6F2}"/>
                </a:ext>
              </a:extLst>
            </p:cNvPr>
            <p:cNvSpPr/>
            <p:nvPr/>
          </p:nvSpPr>
          <p:spPr>
            <a:xfrm>
              <a:off x="1636976" y="1144250"/>
              <a:ext cx="2772732" cy="800400"/>
            </a:xfrm>
            <a:prstGeom prst="rect">
              <a:avLst/>
            </a:prstGeom>
            <a:solidFill>
              <a:schemeClr val="accent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1"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sp>
          <p:nvSpPr>
            <p:cNvPr id="9" name="Google Shape;921;p35">
              <a:extLst>
                <a:ext uri="{FF2B5EF4-FFF2-40B4-BE49-F238E27FC236}">
                  <a16:creationId xmlns:a16="http://schemas.microsoft.com/office/drawing/2014/main" id="{1962F17B-15AE-2A9E-34F9-26A0A22BEC90}"/>
                </a:ext>
              </a:extLst>
            </p:cNvPr>
            <p:cNvSpPr/>
            <p:nvPr/>
          </p:nvSpPr>
          <p:spPr>
            <a:xfrm>
              <a:off x="1206281" y="1144026"/>
              <a:ext cx="924355" cy="800645"/>
            </a:xfrm>
            <a:custGeom>
              <a:avLst/>
              <a:gdLst/>
              <a:ahLst/>
              <a:cxnLst/>
              <a:rect l="l" t="t" r="r" b="b"/>
              <a:pathLst>
                <a:path w="51055" h="44209" extrusionOk="0">
                  <a:moveTo>
                    <a:pt x="12764" y="1"/>
                  </a:moveTo>
                  <a:lnTo>
                    <a:pt x="1" y="22111"/>
                  </a:lnTo>
                  <a:lnTo>
                    <a:pt x="12764" y="44208"/>
                  </a:lnTo>
                  <a:lnTo>
                    <a:pt x="38291" y="44208"/>
                  </a:lnTo>
                  <a:lnTo>
                    <a:pt x="51055" y="22111"/>
                  </a:lnTo>
                  <a:lnTo>
                    <a:pt x="38291" y="1"/>
                  </a:lnTo>
                  <a:close/>
                </a:path>
              </a:pathLst>
            </a:custGeom>
            <a:solidFill>
              <a:schemeClr val="lt1"/>
            </a:solidFill>
            <a:ln w="152400" cap="flat" cmpd="sng">
              <a:solidFill>
                <a:schemeClr val="accent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 sz="3500" b="1" i="0" u="none" strike="noStrike" kern="1200" cap="none" spc="0" normalizeH="0" baseline="0" noProof="0" dirty="0">
                  <a:ln>
                    <a:noFill/>
                  </a:ln>
                  <a:solidFill>
                    <a:srgbClr val="4472C4"/>
                  </a:solidFill>
                  <a:effectLst/>
                  <a:uLnTx/>
                  <a:uFillTx/>
                  <a:latin typeface="Source Sans Pro" panose="020B0503030403020204" pitchFamily="34" charset="0"/>
                  <a:ea typeface="Source Sans Pro" panose="020B0503030403020204" pitchFamily="34" charset="0"/>
                  <a:cs typeface="Arial" panose="020B0604020202020204" pitchFamily="34" charset="0"/>
                  <a:sym typeface="Fira Sans Extra Condensed Medium"/>
                </a:rPr>
                <a:t>1</a:t>
              </a:r>
              <a:endParaRPr kumimoji="0" sz="1800" b="1" i="0" u="none" strike="noStrike" kern="1200" cap="none" spc="0" normalizeH="0" baseline="0" noProof="0" dirty="0">
                <a:ln>
                  <a:noFill/>
                </a:ln>
                <a:solidFill>
                  <a:srgbClr val="4472C4"/>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sp>
          <p:nvSpPr>
            <p:cNvPr id="10" name="Google Shape;922;p35">
              <a:extLst>
                <a:ext uri="{FF2B5EF4-FFF2-40B4-BE49-F238E27FC236}">
                  <a16:creationId xmlns:a16="http://schemas.microsoft.com/office/drawing/2014/main" id="{36F4E3FE-4AB2-4B0D-7A01-50929EDF7BA4}"/>
                </a:ext>
              </a:extLst>
            </p:cNvPr>
            <p:cNvSpPr txBox="1"/>
            <p:nvPr/>
          </p:nvSpPr>
          <p:spPr>
            <a:xfrm>
              <a:off x="2109514" y="1327597"/>
              <a:ext cx="2321316" cy="4335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100"/>
                <a:buFont typeface="Arial"/>
                <a:buNone/>
                <a:tabLst/>
                <a:defRPr/>
              </a:pPr>
              <a:r>
                <a:rPr lang="en" sz="2000" b="1" dirty="0">
                  <a:solidFill>
                    <a:prstClr val="white"/>
                  </a:solidFill>
                  <a:latin typeface="Source Sans Pro" panose="020B0503030403020204" pitchFamily="34" charset="0"/>
                  <a:ea typeface="Source Sans Pro" panose="020B0503030403020204" pitchFamily="34" charset="0"/>
                  <a:cs typeface="Arial" panose="020B0604020202020204" pitchFamily="34" charset="0"/>
                  <a:sym typeface="Roboto"/>
                </a:rPr>
                <a:t>DRIVERS</a:t>
              </a:r>
              <a:endParaRPr kumimoji="0" sz="2000" b="1" i="0" u="none" strike="noStrike" kern="12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Arial" panose="020B0604020202020204" pitchFamily="34" charset="0"/>
                <a:sym typeface="Roboto"/>
              </a:endParaRPr>
            </a:p>
          </p:txBody>
        </p:sp>
      </p:grpSp>
      <p:grpSp>
        <p:nvGrpSpPr>
          <p:cNvPr id="21" name="Google Shape;919;p35">
            <a:extLst>
              <a:ext uri="{FF2B5EF4-FFF2-40B4-BE49-F238E27FC236}">
                <a16:creationId xmlns:a16="http://schemas.microsoft.com/office/drawing/2014/main" id="{1C25CBD0-ED6A-16B5-D27B-0DBFD4964F79}"/>
              </a:ext>
            </a:extLst>
          </p:cNvPr>
          <p:cNvGrpSpPr/>
          <p:nvPr/>
        </p:nvGrpSpPr>
        <p:grpSpPr>
          <a:xfrm>
            <a:off x="4877401" y="1806471"/>
            <a:ext cx="2539625" cy="631016"/>
            <a:chOff x="1206281" y="1125935"/>
            <a:chExt cx="3326935" cy="818736"/>
          </a:xfrm>
        </p:grpSpPr>
        <p:sp>
          <p:nvSpPr>
            <p:cNvPr id="22" name="Google Shape;920;p35">
              <a:extLst>
                <a:ext uri="{FF2B5EF4-FFF2-40B4-BE49-F238E27FC236}">
                  <a16:creationId xmlns:a16="http://schemas.microsoft.com/office/drawing/2014/main" id="{0510A5F3-050F-7111-92F9-78533A1E228F}"/>
                </a:ext>
              </a:extLst>
            </p:cNvPr>
            <p:cNvSpPr/>
            <p:nvPr/>
          </p:nvSpPr>
          <p:spPr>
            <a:xfrm>
              <a:off x="1760484" y="1125935"/>
              <a:ext cx="2772732" cy="800400"/>
            </a:xfrm>
            <a:prstGeom prst="rect">
              <a:avLst/>
            </a:prstGeom>
            <a:solidFill>
              <a:srgbClr val="FFC000"/>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1"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sp>
          <p:nvSpPr>
            <p:cNvPr id="23" name="Google Shape;921;p35">
              <a:extLst>
                <a:ext uri="{FF2B5EF4-FFF2-40B4-BE49-F238E27FC236}">
                  <a16:creationId xmlns:a16="http://schemas.microsoft.com/office/drawing/2014/main" id="{BC8FC2A2-B6CC-C49F-6DDD-028C979E5366}"/>
                </a:ext>
              </a:extLst>
            </p:cNvPr>
            <p:cNvSpPr/>
            <p:nvPr/>
          </p:nvSpPr>
          <p:spPr>
            <a:xfrm>
              <a:off x="1206281" y="1144026"/>
              <a:ext cx="924355" cy="800645"/>
            </a:xfrm>
            <a:custGeom>
              <a:avLst/>
              <a:gdLst/>
              <a:ahLst/>
              <a:cxnLst/>
              <a:rect l="l" t="t" r="r" b="b"/>
              <a:pathLst>
                <a:path w="51055" h="44209" extrusionOk="0">
                  <a:moveTo>
                    <a:pt x="12764" y="1"/>
                  </a:moveTo>
                  <a:lnTo>
                    <a:pt x="1" y="22111"/>
                  </a:lnTo>
                  <a:lnTo>
                    <a:pt x="12764" y="44208"/>
                  </a:lnTo>
                  <a:lnTo>
                    <a:pt x="38291" y="44208"/>
                  </a:lnTo>
                  <a:lnTo>
                    <a:pt x="51055" y="22111"/>
                  </a:lnTo>
                  <a:lnTo>
                    <a:pt x="38291" y="1"/>
                  </a:lnTo>
                  <a:close/>
                </a:path>
              </a:pathLst>
            </a:custGeom>
            <a:solidFill>
              <a:schemeClr val="lt1"/>
            </a:solidFill>
            <a:ln w="152400" cap="flat" cmpd="sng">
              <a:solidFill>
                <a:srgbClr val="FFC0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 sz="3500" b="1" i="0" u="none" strike="noStrike" kern="1200" cap="none" spc="0" normalizeH="0" baseline="0" noProof="0" dirty="0">
                  <a:ln>
                    <a:noFill/>
                  </a:ln>
                  <a:solidFill>
                    <a:srgbClr val="FFC000"/>
                  </a:solidFill>
                  <a:effectLst/>
                  <a:uLnTx/>
                  <a:uFillTx/>
                  <a:latin typeface="Source Sans Pro" panose="020B0503030403020204" pitchFamily="34" charset="0"/>
                  <a:ea typeface="Source Sans Pro" panose="020B0503030403020204" pitchFamily="34" charset="0"/>
                  <a:cs typeface="Arial" panose="020B0604020202020204" pitchFamily="34" charset="0"/>
                  <a:sym typeface="Fira Sans Extra Condensed Medium"/>
                </a:rPr>
                <a:t>2</a:t>
              </a:r>
              <a:endParaRPr kumimoji="0" sz="1800" b="1" i="0" u="none" strike="noStrike" kern="1200" cap="none" spc="0" normalizeH="0" baseline="0" noProof="0" dirty="0">
                <a:ln>
                  <a:noFill/>
                </a:ln>
                <a:solidFill>
                  <a:srgbClr val="FFC000"/>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sp>
          <p:nvSpPr>
            <p:cNvPr id="24" name="Google Shape;922;p35">
              <a:extLst>
                <a:ext uri="{FF2B5EF4-FFF2-40B4-BE49-F238E27FC236}">
                  <a16:creationId xmlns:a16="http://schemas.microsoft.com/office/drawing/2014/main" id="{E9AEAA91-4A52-F1D5-98D0-4C86992B63A7}"/>
                </a:ext>
              </a:extLst>
            </p:cNvPr>
            <p:cNvSpPr txBox="1"/>
            <p:nvPr/>
          </p:nvSpPr>
          <p:spPr>
            <a:xfrm>
              <a:off x="2109514" y="1327597"/>
              <a:ext cx="2321316" cy="4335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100"/>
                <a:buFont typeface="Arial"/>
                <a:buNone/>
                <a:tabLst/>
                <a:defRPr/>
              </a:pPr>
              <a:r>
                <a:rPr kumimoji="0" lang="es-ES" sz="1800" b="1" i="0" u="none" strike="noStrike" kern="12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Arial" panose="020B0604020202020204" pitchFamily="34" charset="0"/>
                  <a:sym typeface="Roboto"/>
                </a:rPr>
                <a:t>CITIZEN ATTENTION </a:t>
              </a:r>
              <a:endParaRPr kumimoji="0" sz="1800" b="1" i="0" u="none" strike="noStrike" kern="12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Arial" panose="020B0604020202020204" pitchFamily="34" charset="0"/>
                <a:sym typeface="Roboto"/>
              </a:endParaRPr>
            </a:p>
          </p:txBody>
        </p:sp>
      </p:grpSp>
      <p:grpSp>
        <p:nvGrpSpPr>
          <p:cNvPr id="26" name="Google Shape;919;p35">
            <a:extLst>
              <a:ext uri="{FF2B5EF4-FFF2-40B4-BE49-F238E27FC236}">
                <a16:creationId xmlns:a16="http://schemas.microsoft.com/office/drawing/2014/main" id="{79B97323-5E27-C482-FAFD-162B560EEEF9}"/>
              </a:ext>
            </a:extLst>
          </p:cNvPr>
          <p:cNvGrpSpPr/>
          <p:nvPr/>
        </p:nvGrpSpPr>
        <p:grpSpPr>
          <a:xfrm>
            <a:off x="8468088" y="1740298"/>
            <a:ext cx="2461468" cy="617073"/>
            <a:chOff x="1206281" y="1144026"/>
            <a:chExt cx="3224549" cy="800645"/>
          </a:xfrm>
        </p:grpSpPr>
        <p:sp>
          <p:nvSpPr>
            <p:cNvPr id="27" name="Google Shape;920;p35">
              <a:extLst>
                <a:ext uri="{FF2B5EF4-FFF2-40B4-BE49-F238E27FC236}">
                  <a16:creationId xmlns:a16="http://schemas.microsoft.com/office/drawing/2014/main" id="{6BF334DD-29A3-C38E-0306-E8BD214B6A11}"/>
                </a:ext>
              </a:extLst>
            </p:cNvPr>
            <p:cNvSpPr/>
            <p:nvPr/>
          </p:nvSpPr>
          <p:spPr>
            <a:xfrm>
              <a:off x="1636976" y="1144250"/>
              <a:ext cx="2772732" cy="800400"/>
            </a:xfrm>
            <a:prstGeom prst="rect">
              <a:avLst/>
            </a:prstGeom>
            <a:solidFill>
              <a:srgbClr val="ED7D31"/>
            </a:solidFill>
            <a:ln>
              <a:noFill/>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1" i="0" u="none" strike="noStrike" kern="1200" cap="none" spc="0" normalizeH="0" baseline="0" noProof="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sp>
          <p:nvSpPr>
            <p:cNvPr id="28" name="Google Shape;921;p35">
              <a:extLst>
                <a:ext uri="{FF2B5EF4-FFF2-40B4-BE49-F238E27FC236}">
                  <a16:creationId xmlns:a16="http://schemas.microsoft.com/office/drawing/2014/main" id="{C3577B1F-0005-2EE8-4927-BAA6DBDB3231}"/>
                </a:ext>
              </a:extLst>
            </p:cNvPr>
            <p:cNvSpPr/>
            <p:nvPr/>
          </p:nvSpPr>
          <p:spPr>
            <a:xfrm>
              <a:off x="1206281" y="1144026"/>
              <a:ext cx="924355" cy="800645"/>
            </a:xfrm>
            <a:custGeom>
              <a:avLst/>
              <a:gdLst/>
              <a:ahLst/>
              <a:cxnLst/>
              <a:rect l="l" t="t" r="r" b="b"/>
              <a:pathLst>
                <a:path w="51055" h="44209" extrusionOk="0">
                  <a:moveTo>
                    <a:pt x="12764" y="1"/>
                  </a:moveTo>
                  <a:lnTo>
                    <a:pt x="1" y="22111"/>
                  </a:lnTo>
                  <a:lnTo>
                    <a:pt x="12764" y="44208"/>
                  </a:lnTo>
                  <a:lnTo>
                    <a:pt x="38291" y="44208"/>
                  </a:lnTo>
                  <a:lnTo>
                    <a:pt x="51055" y="22111"/>
                  </a:lnTo>
                  <a:lnTo>
                    <a:pt x="38291" y="1"/>
                  </a:lnTo>
                  <a:close/>
                </a:path>
              </a:pathLst>
            </a:custGeom>
            <a:solidFill>
              <a:schemeClr val="lt1"/>
            </a:solidFill>
            <a:ln w="152400" cap="flat" cmpd="sng">
              <a:solidFill>
                <a:srgbClr val="ED7D31"/>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100"/>
                <a:buFont typeface="Arial"/>
                <a:buNone/>
                <a:tabLst/>
                <a:defRPr/>
              </a:pPr>
              <a:r>
                <a:rPr kumimoji="0" lang="en" sz="3500" b="1" i="0" u="none" strike="noStrike" kern="1200" cap="none" spc="0" normalizeH="0" baseline="0" noProof="0" dirty="0">
                  <a:ln>
                    <a:noFill/>
                  </a:ln>
                  <a:solidFill>
                    <a:srgbClr val="ED7D31"/>
                  </a:solidFill>
                  <a:effectLst/>
                  <a:uLnTx/>
                  <a:uFillTx/>
                  <a:latin typeface="Source Sans Pro" panose="020B0503030403020204" pitchFamily="34" charset="0"/>
                  <a:ea typeface="Source Sans Pro" panose="020B0503030403020204" pitchFamily="34" charset="0"/>
                  <a:cs typeface="Arial" panose="020B0604020202020204" pitchFamily="34" charset="0"/>
                  <a:sym typeface="Fira Sans Extra Condensed Medium"/>
                </a:rPr>
                <a:t>3</a:t>
              </a:r>
              <a:endParaRPr kumimoji="0" sz="1800" b="1" i="0" u="none" strike="noStrike" kern="1200" cap="none" spc="0" normalizeH="0" baseline="0" noProof="0" dirty="0">
                <a:ln>
                  <a:noFill/>
                </a:ln>
                <a:solidFill>
                  <a:srgbClr val="ED7D31"/>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sp>
          <p:nvSpPr>
            <p:cNvPr id="29" name="Google Shape;922;p35">
              <a:extLst>
                <a:ext uri="{FF2B5EF4-FFF2-40B4-BE49-F238E27FC236}">
                  <a16:creationId xmlns:a16="http://schemas.microsoft.com/office/drawing/2014/main" id="{1B0B90FD-1FE2-2BB2-BA48-662660981E29}"/>
                </a:ext>
              </a:extLst>
            </p:cNvPr>
            <p:cNvSpPr txBox="1"/>
            <p:nvPr/>
          </p:nvSpPr>
          <p:spPr>
            <a:xfrm>
              <a:off x="2109514" y="1327597"/>
              <a:ext cx="2321316" cy="4335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prstClr val="black"/>
                </a:buClr>
                <a:buSzPts val="1100"/>
                <a:buFont typeface="Arial"/>
                <a:buNone/>
                <a:tabLst/>
                <a:defRPr/>
              </a:pPr>
              <a:r>
                <a:rPr kumimoji="0" lang="es-MX" sz="1800" b="1" i="0" u="none" strike="noStrike" kern="12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Arial" panose="020B0604020202020204" pitchFamily="34" charset="0"/>
                  <a:sym typeface="Roboto"/>
                </a:rPr>
                <a:t>QUALITY AND PROCESSES</a:t>
              </a:r>
              <a:endParaRPr kumimoji="0" sz="1800" b="1" i="0" u="none" strike="noStrike" kern="1200" cap="none" spc="0" normalizeH="0" baseline="0" noProof="0" dirty="0">
                <a:ln>
                  <a:noFill/>
                </a:ln>
                <a:solidFill>
                  <a:prstClr val="white"/>
                </a:solidFill>
                <a:effectLst/>
                <a:uLnTx/>
                <a:uFillTx/>
                <a:latin typeface="Source Sans Pro" panose="020B0503030403020204" pitchFamily="34" charset="0"/>
                <a:ea typeface="Source Sans Pro" panose="020B0503030403020204" pitchFamily="34" charset="0"/>
                <a:cs typeface="Arial" panose="020B0604020202020204" pitchFamily="34" charset="0"/>
                <a:sym typeface="Roboto"/>
              </a:endParaRPr>
            </a:p>
          </p:txBody>
        </p:sp>
      </p:grpSp>
      <p:grpSp>
        <p:nvGrpSpPr>
          <p:cNvPr id="35" name="Grupo 34">
            <a:extLst>
              <a:ext uri="{FF2B5EF4-FFF2-40B4-BE49-F238E27FC236}">
                <a16:creationId xmlns:a16="http://schemas.microsoft.com/office/drawing/2014/main" id="{045F07D2-F841-C569-9A5A-1642E2921FD9}"/>
              </a:ext>
            </a:extLst>
          </p:cNvPr>
          <p:cNvGrpSpPr/>
          <p:nvPr/>
        </p:nvGrpSpPr>
        <p:grpSpPr>
          <a:xfrm>
            <a:off x="275482" y="2785576"/>
            <a:ext cx="3718536" cy="3500574"/>
            <a:chOff x="83620" y="1695045"/>
            <a:chExt cx="3574718" cy="3500574"/>
          </a:xfrm>
        </p:grpSpPr>
        <p:sp>
          <p:nvSpPr>
            <p:cNvPr id="12" name="CuadroTexto 11">
              <a:extLst>
                <a:ext uri="{FF2B5EF4-FFF2-40B4-BE49-F238E27FC236}">
                  <a16:creationId xmlns:a16="http://schemas.microsoft.com/office/drawing/2014/main" id="{8CA5F294-606D-35CB-4751-B61A9146D698}"/>
                </a:ext>
              </a:extLst>
            </p:cNvPr>
            <p:cNvSpPr txBox="1"/>
            <p:nvPr/>
          </p:nvSpPr>
          <p:spPr>
            <a:xfrm>
              <a:off x="454911" y="1695045"/>
              <a:ext cx="3203427" cy="35005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Absence</a:t>
              </a:r>
              <a:r>
                <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 </a:t>
              </a:r>
              <a:r>
                <a:rPr kumimoji="0" lang="es-MX"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of</a:t>
              </a:r>
              <a:r>
                <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 training </a:t>
              </a:r>
              <a:r>
                <a:rPr kumimoji="0" lang="es-MX"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programs</a:t>
              </a: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Resistance</a:t>
              </a:r>
              <a:r>
                <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 to </a:t>
              </a:r>
              <a:r>
                <a:rPr kumimoji="0" lang="es-MX"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change</a:t>
              </a: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No system for evaluating drivers and providing feedback</a:t>
              </a: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Unclear working conditions for drivers</a:t>
              </a: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grpSp>
          <p:nvGrpSpPr>
            <p:cNvPr id="34" name="Grupo 33">
              <a:extLst>
                <a:ext uri="{FF2B5EF4-FFF2-40B4-BE49-F238E27FC236}">
                  <a16:creationId xmlns:a16="http://schemas.microsoft.com/office/drawing/2014/main" id="{CCE0BFC7-AF6E-0E5D-9984-2FF2B1FC856F}"/>
                </a:ext>
              </a:extLst>
            </p:cNvPr>
            <p:cNvGrpSpPr/>
            <p:nvPr/>
          </p:nvGrpSpPr>
          <p:grpSpPr>
            <a:xfrm>
              <a:off x="83620" y="1922329"/>
              <a:ext cx="440632" cy="2844129"/>
              <a:chOff x="83620" y="1922329"/>
              <a:chExt cx="440632" cy="2844129"/>
            </a:xfrm>
          </p:grpSpPr>
          <p:pic>
            <p:nvPicPr>
              <p:cNvPr id="1026" name="Picture 2" descr="Record button ">
                <a:extLst>
                  <a:ext uri="{FF2B5EF4-FFF2-40B4-BE49-F238E27FC236}">
                    <a16:creationId xmlns:a16="http://schemas.microsoft.com/office/drawing/2014/main" id="{E259C4AF-5444-E072-5C9E-F9AE36AC4B4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620" y="1922329"/>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2" descr="Record button ">
                <a:extLst>
                  <a:ext uri="{FF2B5EF4-FFF2-40B4-BE49-F238E27FC236}">
                    <a16:creationId xmlns:a16="http://schemas.microsoft.com/office/drawing/2014/main" id="{CE13C1F8-38B2-EBBF-C2DF-9F44B424547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240" y="2651996"/>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Record button ">
                <a:extLst>
                  <a:ext uri="{FF2B5EF4-FFF2-40B4-BE49-F238E27FC236}">
                    <a16:creationId xmlns:a16="http://schemas.microsoft.com/office/drawing/2014/main" id="{7D1F3A75-DC53-91E5-46DE-A151C999D4A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623" y="3335355"/>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 descr="Record button ">
                <a:extLst>
                  <a:ext uri="{FF2B5EF4-FFF2-40B4-BE49-F238E27FC236}">
                    <a16:creationId xmlns:a16="http://schemas.microsoft.com/office/drawing/2014/main" id="{45D3C545-A9F5-D4F4-B6D7-D7CF05A13C9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622" y="4371829"/>
                <a:ext cx="394629" cy="39462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5" name="Grupo 44">
            <a:extLst>
              <a:ext uri="{FF2B5EF4-FFF2-40B4-BE49-F238E27FC236}">
                <a16:creationId xmlns:a16="http://schemas.microsoft.com/office/drawing/2014/main" id="{1B334C33-54E3-F7E0-46E8-B634BC701A73}"/>
              </a:ext>
            </a:extLst>
          </p:cNvPr>
          <p:cNvGrpSpPr/>
          <p:nvPr/>
        </p:nvGrpSpPr>
        <p:grpSpPr>
          <a:xfrm>
            <a:off x="4552718" y="2662459"/>
            <a:ext cx="3598057" cy="3591652"/>
            <a:chOff x="4354480" y="2616080"/>
            <a:chExt cx="3598057" cy="3591652"/>
          </a:xfrm>
        </p:grpSpPr>
        <p:sp>
          <p:nvSpPr>
            <p:cNvPr id="25" name="CuadroTexto 24">
              <a:extLst>
                <a:ext uri="{FF2B5EF4-FFF2-40B4-BE49-F238E27FC236}">
                  <a16:creationId xmlns:a16="http://schemas.microsoft.com/office/drawing/2014/main" id="{A3ABAEC8-AC55-7FBE-6F1D-53FADFA230B0}"/>
                </a:ext>
              </a:extLst>
            </p:cNvPr>
            <p:cNvSpPr txBox="1"/>
            <p:nvPr/>
          </p:nvSpPr>
          <p:spPr>
            <a:xfrm>
              <a:off x="4749110" y="2616080"/>
              <a:ext cx="3203427" cy="35394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Ineffective communication channe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No established processes for monitoring and resolving issues</a:t>
              </a:r>
              <a:endPar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MX"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Mistrust</a:t>
              </a:r>
              <a:r>
                <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 </a:t>
              </a:r>
              <a:r>
                <a:rPr kumimoji="0" lang="es-MX"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from</a:t>
              </a:r>
              <a:r>
                <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 </a:t>
              </a:r>
              <a:r>
                <a:rPr kumimoji="0" lang="es-MX"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users</a:t>
              </a:r>
              <a:endPar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No studies conducted to measure user satisfaction</a:t>
              </a:r>
              <a:endParaRPr kumimoji="0" lang="en-US" sz="16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grpSp>
          <p:nvGrpSpPr>
            <p:cNvPr id="44" name="Grupo 43">
              <a:extLst>
                <a:ext uri="{FF2B5EF4-FFF2-40B4-BE49-F238E27FC236}">
                  <a16:creationId xmlns:a16="http://schemas.microsoft.com/office/drawing/2014/main" id="{FD03AED2-7F56-1DA5-3141-F4365350B604}"/>
                </a:ext>
              </a:extLst>
            </p:cNvPr>
            <p:cNvGrpSpPr/>
            <p:nvPr/>
          </p:nvGrpSpPr>
          <p:grpSpPr>
            <a:xfrm>
              <a:off x="4354480" y="2941384"/>
              <a:ext cx="397037" cy="3266348"/>
              <a:chOff x="4354480" y="2941384"/>
              <a:chExt cx="397037" cy="3266348"/>
            </a:xfrm>
          </p:grpSpPr>
          <p:pic>
            <p:nvPicPr>
              <p:cNvPr id="36" name="Picture 2" descr="Record button ">
                <a:extLst>
                  <a:ext uri="{FF2B5EF4-FFF2-40B4-BE49-F238E27FC236}">
                    <a16:creationId xmlns:a16="http://schemas.microsoft.com/office/drawing/2014/main" id="{F8C6EC8E-EB19-DCDC-6CFD-93D0B3A9B0E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4480" y="2941384"/>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Record button ">
                <a:extLst>
                  <a:ext uri="{FF2B5EF4-FFF2-40B4-BE49-F238E27FC236}">
                    <a16:creationId xmlns:a16="http://schemas.microsoft.com/office/drawing/2014/main" id="{CC875C00-5D59-07A9-F6A2-A2E2945709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6888" y="3824884"/>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Record button ">
                <a:extLst>
                  <a:ext uri="{FF2B5EF4-FFF2-40B4-BE49-F238E27FC236}">
                    <a16:creationId xmlns:a16="http://schemas.microsoft.com/office/drawing/2014/main" id="{7B2E0CB5-5D72-28AE-5892-65B35D06879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4480" y="4852583"/>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descr="Record button ">
                <a:extLst>
                  <a:ext uri="{FF2B5EF4-FFF2-40B4-BE49-F238E27FC236}">
                    <a16:creationId xmlns:a16="http://schemas.microsoft.com/office/drawing/2014/main" id="{9C2CF795-FF12-9786-E724-F07282CB428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54480" y="5813103"/>
                <a:ext cx="394629" cy="394629"/>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7" name="Grupo 46">
            <a:extLst>
              <a:ext uri="{FF2B5EF4-FFF2-40B4-BE49-F238E27FC236}">
                <a16:creationId xmlns:a16="http://schemas.microsoft.com/office/drawing/2014/main" id="{B9F0409B-D15F-F210-CA06-123C6ED01437}"/>
              </a:ext>
            </a:extLst>
          </p:cNvPr>
          <p:cNvGrpSpPr/>
          <p:nvPr/>
        </p:nvGrpSpPr>
        <p:grpSpPr>
          <a:xfrm>
            <a:off x="8232313" y="2743341"/>
            <a:ext cx="3598056" cy="3299356"/>
            <a:chOff x="8320169" y="1903093"/>
            <a:chExt cx="3598056" cy="3299356"/>
          </a:xfrm>
        </p:grpSpPr>
        <p:sp>
          <p:nvSpPr>
            <p:cNvPr id="30" name="CuadroTexto 29">
              <a:extLst>
                <a:ext uri="{FF2B5EF4-FFF2-40B4-BE49-F238E27FC236}">
                  <a16:creationId xmlns:a16="http://schemas.microsoft.com/office/drawing/2014/main" id="{8F05E656-E8A1-F0BB-2D62-2829F1752B9B}"/>
                </a:ext>
              </a:extLst>
            </p:cNvPr>
            <p:cNvSpPr txBox="1"/>
            <p:nvPr/>
          </p:nvSpPr>
          <p:spPr>
            <a:xfrm>
              <a:off x="8714798" y="1909240"/>
              <a:ext cx="3203427" cy="329320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Absence of clear action protocols</a:t>
              </a: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Lack of an organizational culture within operating companies</a:t>
              </a: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just" defTabSz="914400" rtl="0" eaLnBrk="1" fontAlgn="auto" latinLnBrk="0" hangingPunct="1">
                <a:lnSpc>
                  <a:spcPct val="150000"/>
                </a:lnSpc>
                <a:spcBef>
                  <a:spcPts val="0"/>
                </a:spcBef>
                <a:spcAft>
                  <a:spcPts val="0"/>
                </a:spcAft>
                <a:buClrTx/>
                <a:buSzTx/>
                <a:buFontTx/>
                <a:buNone/>
                <a:tabLst/>
                <a:defRPr/>
              </a:pP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Disconnection between processes and users’ nee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prstClr val="black"/>
                  </a:solidFill>
                  <a:latin typeface="Source Sans Pro" panose="020B0503030403020204" pitchFamily="34" charset="0"/>
                  <a:ea typeface="Source Sans Pro" panose="020B0503030403020204" pitchFamily="34" charset="0"/>
                  <a:cs typeface="Arial" panose="020B0604020202020204" pitchFamily="34" charset="0"/>
                </a:rPr>
                <a:t>L</a:t>
              </a:r>
              <a:r>
                <a:rPr kumimoji="0" lang="en-US" sz="1600" b="1" i="0" u="none" strike="noStrike" kern="1200" cap="none" spc="0" normalizeH="0" baseline="0" noProof="0" dirty="0" err="1">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imited</a:t>
              </a:r>
              <a:r>
                <a:rPr kumimoji="0" lang="en-US" sz="1600" b="1"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rPr>
                <a:t> evaluation mechanisms for service quality</a:t>
              </a:r>
              <a:endParaRPr kumimoji="0" lang="en-US" sz="1600" b="0" i="0" u="none" strike="noStrike" kern="1200" cap="none" spc="0" normalizeH="0" baseline="0" noProof="0" dirty="0">
                <a:ln>
                  <a:noFill/>
                </a:ln>
                <a:solidFill>
                  <a:prstClr val="black"/>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grpSp>
          <p:nvGrpSpPr>
            <p:cNvPr id="46" name="Grupo 45">
              <a:extLst>
                <a:ext uri="{FF2B5EF4-FFF2-40B4-BE49-F238E27FC236}">
                  <a16:creationId xmlns:a16="http://schemas.microsoft.com/office/drawing/2014/main" id="{F17AA181-4BD8-A577-A31B-30DDE1542372}"/>
                </a:ext>
              </a:extLst>
            </p:cNvPr>
            <p:cNvGrpSpPr/>
            <p:nvPr/>
          </p:nvGrpSpPr>
          <p:grpSpPr>
            <a:xfrm>
              <a:off x="8320169" y="1903093"/>
              <a:ext cx="423096" cy="3073408"/>
              <a:chOff x="8320169" y="1903093"/>
              <a:chExt cx="423096" cy="3073408"/>
            </a:xfrm>
          </p:grpSpPr>
          <p:pic>
            <p:nvPicPr>
              <p:cNvPr id="40" name="Picture 2" descr="Record button ">
                <a:extLst>
                  <a:ext uri="{FF2B5EF4-FFF2-40B4-BE49-F238E27FC236}">
                    <a16:creationId xmlns:a16="http://schemas.microsoft.com/office/drawing/2014/main" id="{DB530462-B6F3-0F17-1F59-FFD7874FD30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48636" y="1903093"/>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Record button ">
                <a:extLst>
                  <a:ext uri="{FF2B5EF4-FFF2-40B4-BE49-F238E27FC236}">
                    <a16:creationId xmlns:a16="http://schemas.microsoft.com/office/drawing/2014/main" id="{CFE9EA50-BF70-470D-9D56-296D9D80B7E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20169" y="2586019"/>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Record button ">
                <a:extLst>
                  <a:ext uri="{FF2B5EF4-FFF2-40B4-BE49-F238E27FC236}">
                    <a16:creationId xmlns:a16="http://schemas.microsoft.com/office/drawing/2014/main" id="{0334D44D-5E73-8E91-4B46-BE9F9569BD1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48636" y="3627916"/>
                <a:ext cx="394629" cy="39462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Record button ">
                <a:extLst>
                  <a:ext uri="{FF2B5EF4-FFF2-40B4-BE49-F238E27FC236}">
                    <a16:creationId xmlns:a16="http://schemas.microsoft.com/office/drawing/2014/main" id="{1C376D2A-6E71-ECEA-8DBD-E597B478360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35206" y="4581872"/>
                <a:ext cx="394629" cy="39462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11" name="CuadroTexto 10">
            <a:extLst>
              <a:ext uri="{FF2B5EF4-FFF2-40B4-BE49-F238E27FC236}">
                <a16:creationId xmlns:a16="http://schemas.microsoft.com/office/drawing/2014/main" id="{41E6E073-133B-056C-53FA-C0D96D0C75CA}"/>
              </a:ext>
            </a:extLst>
          </p:cNvPr>
          <p:cNvSpPr txBox="1"/>
          <p:nvPr/>
        </p:nvSpPr>
        <p:spPr>
          <a:xfrm>
            <a:off x="280933" y="409889"/>
            <a:ext cx="7426171"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MX" altLang="es-MX" sz="3200" b="1" i="0" u="none" strike="noStrike" kern="1200" cap="none" spc="0" normalizeH="0" baseline="0" noProof="0" dirty="0">
                <a:ln>
                  <a:noFill/>
                </a:ln>
                <a:solidFill>
                  <a:schemeClr val="accent1"/>
                </a:solidFill>
                <a:effectLst/>
                <a:uLnTx/>
                <a:uFillTx/>
                <a:latin typeface="Source Sans Pro" panose="020B0503030403020204" pitchFamily="34" charset="0"/>
                <a:ea typeface="Source Sans Pro" panose="020B0503030403020204" pitchFamily="34" charset="0"/>
                <a:cs typeface="Arial" panose="020B0604020202020204" pitchFamily="34" charset="0"/>
              </a:rPr>
              <a:t>ONE MORE CHALLENGE…</a:t>
            </a:r>
            <a:r>
              <a:rPr kumimoji="0" lang="es-MX" altLang="es-MX" sz="3200" b="1" i="0" u="none" strike="noStrike" kern="1200" cap="none" spc="0" normalizeH="0" baseline="0" noProof="0" dirty="0">
                <a:ln>
                  <a:noFill/>
                </a:ln>
                <a:solidFill>
                  <a:schemeClr val="accent4">
                    <a:lumMod val="60000"/>
                    <a:lumOff val="40000"/>
                  </a:schemeClr>
                </a:solidFill>
                <a:effectLst/>
                <a:uLnTx/>
                <a:uFillTx/>
                <a:latin typeface="Source Sans Pro" panose="020B0503030403020204" pitchFamily="34" charset="0"/>
                <a:ea typeface="Source Sans Pro" panose="020B0503030403020204" pitchFamily="34" charset="0"/>
                <a:cs typeface="Arial" panose="020B0604020202020204" pitchFamily="34" charset="0"/>
              </a:rPr>
              <a:t>QUALITY</a:t>
            </a:r>
            <a:endParaRPr kumimoji="0" lang="es-MX" altLang="es-MX" sz="1200" b="1" i="0" u="none" strike="noStrike" kern="1200" cap="none" spc="0" normalizeH="0" baseline="0" noProof="0" dirty="0">
              <a:ln>
                <a:noFill/>
              </a:ln>
              <a:solidFill>
                <a:schemeClr val="accent4">
                  <a:lumMod val="60000"/>
                  <a:lumOff val="40000"/>
                </a:schemeClr>
              </a:solidFill>
              <a:effectLst/>
              <a:uLnTx/>
              <a:uFillTx/>
              <a:latin typeface="Source Sans Pro" panose="020B0503030403020204" pitchFamily="34" charset="0"/>
              <a:ea typeface="Source Sans Pro" panose="020B0503030403020204" pitchFamily="34" charset="0"/>
              <a:cs typeface="Arial" panose="020B0604020202020204" pitchFamily="34" charset="0"/>
            </a:endParaRPr>
          </a:p>
        </p:txBody>
      </p:sp>
      <p:pic>
        <p:nvPicPr>
          <p:cNvPr id="13" name="Picture 11">
            <a:extLst>
              <a:ext uri="{FF2B5EF4-FFF2-40B4-BE49-F238E27FC236}">
                <a16:creationId xmlns:a16="http://schemas.microsoft.com/office/drawing/2014/main" id="{1F516E9B-FC2D-EABC-1028-D45350582EF5}"/>
              </a:ext>
            </a:extLst>
          </p:cNvPr>
          <p:cNvPicPr>
            <a:picLocks noChangeAspect="1"/>
          </p:cNvPicPr>
          <p:nvPr/>
        </p:nvPicPr>
        <p:blipFill>
          <a:blip r:embed="rId4" cstate="print">
            <a:duotone>
              <a:prstClr val="black"/>
              <a:srgbClr val="59AF31">
                <a:tint val="45000"/>
                <a:satMod val="400000"/>
              </a:srgbClr>
            </a:duotone>
            <a:extLst>
              <a:ext uri="{28A0092B-C50C-407E-A947-70E740481C1C}">
                <a14:useLocalDpi xmlns:a14="http://schemas.microsoft.com/office/drawing/2010/main" val="0"/>
              </a:ext>
            </a:extLst>
          </a:blip>
          <a:stretch>
            <a:fillRect/>
          </a:stretch>
        </p:blipFill>
        <p:spPr>
          <a:xfrm>
            <a:off x="297713" y="251550"/>
            <a:ext cx="2880000" cy="90024"/>
          </a:xfrm>
          <a:prstGeom prst="rect">
            <a:avLst/>
          </a:prstGeom>
        </p:spPr>
      </p:pic>
    </p:spTree>
    <p:extLst>
      <p:ext uri="{BB962C8B-B14F-4D97-AF65-F5344CB8AC3E}">
        <p14:creationId xmlns:p14="http://schemas.microsoft.com/office/powerpoint/2010/main" val="33956256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2FF45CE5-FBBB-B214-E930-3E6933235D00}"/>
              </a:ext>
            </a:extLst>
          </p:cNvPr>
          <p:cNvSpPr>
            <a:spLocks noGrp="1"/>
          </p:cNvSpPr>
          <p:nvPr>
            <p:ph type="sldNum" sz="quarter" idx="12"/>
          </p:nvPr>
        </p:nvSpPr>
        <p:spPr/>
        <p:txBody>
          <a:bodyPr/>
          <a:lstStyle/>
          <a:p>
            <a:fld id="{1EFDA2A4-EBD9-4CF7-9623-3EF83B4BB58D}" type="slidenum">
              <a:rPr lang="de-DE" smtClean="0"/>
              <a:pPr/>
              <a:t>11</a:t>
            </a:fld>
            <a:endParaRPr lang="de-DE"/>
          </a:p>
        </p:txBody>
      </p:sp>
      <p:sp>
        <p:nvSpPr>
          <p:cNvPr id="8" name="Rectángulo: esquinas redondeadas 7">
            <a:extLst>
              <a:ext uri="{FF2B5EF4-FFF2-40B4-BE49-F238E27FC236}">
                <a16:creationId xmlns:a16="http://schemas.microsoft.com/office/drawing/2014/main" id="{F8322319-3CF6-7928-6108-71FA8BC01CD7}"/>
              </a:ext>
            </a:extLst>
          </p:cNvPr>
          <p:cNvSpPr/>
          <p:nvPr/>
        </p:nvSpPr>
        <p:spPr>
          <a:xfrm>
            <a:off x="488514" y="1281238"/>
            <a:ext cx="4822521" cy="92692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2800" b="1" dirty="0">
                <a:solidFill>
                  <a:schemeClr val="bg1"/>
                </a:solidFill>
              </a:rPr>
              <a:t>Agencia de Transporte de Yucatán</a:t>
            </a:r>
            <a:endParaRPr lang="es-MX" sz="2800" b="1" dirty="0">
              <a:solidFill>
                <a:schemeClr val="bg1"/>
              </a:solidFill>
            </a:endParaRPr>
          </a:p>
        </p:txBody>
      </p:sp>
      <p:sp>
        <p:nvSpPr>
          <p:cNvPr id="9" name="Rectángulo: esquinas redondeadas 8">
            <a:extLst>
              <a:ext uri="{FF2B5EF4-FFF2-40B4-BE49-F238E27FC236}">
                <a16:creationId xmlns:a16="http://schemas.microsoft.com/office/drawing/2014/main" id="{61DE50D4-C8E9-DCE2-8728-DF739AC9B295}"/>
              </a:ext>
            </a:extLst>
          </p:cNvPr>
          <p:cNvSpPr/>
          <p:nvPr/>
        </p:nvSpPr>
        <p:spPr>
          <a:xfrm>
            <a:off x="588722" y="3906850"/>
            <a:ext cx="4722313" cy="92692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3200" b="1" dirty="0" err="1">
                <a:solidFill>
                  <a:schemeClr val="bg1"/>
                </a:solidFill>
              </a:rPr>
              <a:t>Agencia_ATY</a:t>
            </a:r>
            <a:endParaRPr lang="es-MX" sz="3200" b="1" dirty="0">
              <a:solidFill>
                <a:schemeClr val="bg1"/>
              </a:solidFill>
            </a:endParaRPr>
          </a:p>
        </p:txBody>
      </p:sp>
      <p:pic>
        <p:nvPicPr>
          <p:cNvPr id="1026" name="Picture 2" descr="Logotipo circular de facebook - Iconos gratis de redes sociales">
            <a:extLst>
              <a:ext uri="{FF2B5EF4-FFF2-40B4-BE49-F238E27FC236}">
                <a16:creationId xmlns:a16="http://schemas.microsoft.com/office/drawing/2014/main" id="{DBBF7A88-6853-ED22-A11D-75C9E45034F7}"/>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68377" y="2357438"/>
            <a:ext cx="687431" cy="687431"/>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030" name="Picture 6" descr="Icono X de Twitter | Vector Premium">
            <a:extLst>
              <a:ext uri="{FF2B5EF4-FFF2-40B4-BE49-F238E27FC236}">
                <a16:creationId xmlns:a16="http://schemas.microsoft.com/office/drawing/2014/main" id="{8B17DE15-A0D5-3FAD-E7B3-63A567416810}"/>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92258" y="5053450"/>
            <a:ext cx="687431" cy="687431"/>
          </a:xfrm>
          <a:prstGeom prst="flowChartConnector">
            <a:avLst/>
          </a:prstGeom>
          <a:noFill/>
          <a:extLst>
            <a:ext uri="{909E8E84-426E-40DD-AFC4-6F175D3DCCD1}">
              <a14:hiddenFill xmlns:a14="http://schemas.microsoft.com/office/drawing/2010/main">
                <a:solidFill>
                  <a:srgbClr val="FFFFFF"/>
                </a:solidFill>
              </a14:hiddenFill>
            </a:ext>
          </a:extLst>
        </p:spPr>
      </p:pic>
      <p:pic>
        <p:nvPicPr>
          <p:cNvPr id="1032" name="Picture 8" descr="Instagram, foto, icono Materia Social, png | PNGWing">
            <a:extLst>
              <a:ext uri="{FF2B5EF4-FFF2-40B4-BE49-F238E27FC236}">
                <a16:creationId xmlns:a16="http://schemas.microsoft.com/office/drawing/2014/main" id="{B50D27C1-B9D6-AB1D-DD15-D3372ADB38FB}"/>
              </a:ext>
            </a:extLst>
          </p:cNvPr>
          <p:cNvPicPr>
            <a:picLocks noChangeAspect="1" noChangeArrowheads="1"/>
          </p:cNvPicPr>
          <p:nvPr/>
        </p:nvPicPr>
        <p:blipFill>
          <a:blip r:embed="rId4">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173095" y="5008326"/>
            <a:ext cx="687431" cy="687431"/>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1" name="Rectángulo: esquinas redondeadas 10">
            <a:extLst>
              <a:ext uri="{FF2B5EF4-FFF2-40B4-BE49-F238E27FC236}">
                <a16:creationId xmlns:a16="http://schemas.microsoft.com/office/drawing/2014/main" id="{25B01EA2-1958-5AF8-5FE0-AEC7A552A9A2}"/>
              </a:ext>
            </a:extLst>
          </p:cNvPr>
          <p:cNvSpPr/>
          <p:nvPr/>
        </p:nvSpPr>
        <p:spPr>
          <a:xfrm>
            <a:off x="6414247" y="3892970"/>
            <a:ext cx="4722313" cy="92692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3200" b="1" dirty="0" err="1">
                <a:solidFill>
                  <a:schemeClr val="bg1"/>
                </a:solidFill>
              </a:rPr>
              <a:t>Kotasek_Rafa</a:t>
            </a:r>
            <a:endParaRPr lang="es-MX" sz="3200" b="1" dirty="0">
              <a:solidFill>
                <a:schemeClr val="bg1"/>
              </a:solidFill>
            </a:endParaRPr>
          </a:p>
        </p:txBody>
      </p:sp>
      <p:pic>
        <p:nvPicPr>
          <p:cNvPr id="12" name="Picture 6" descr="Icono X de Twitter | Vector Premium">
            <a:extLst>
              <a:ext uri="{FF2B5EF4-FFF2-40B4-BE49-F238E27FC236}">
                <a16:creationId xmlns:a16="http://schemas.microsoft.com/office/drawing/2014/main" id="{8BCC6142-5D12-857E-A35D-D424D3FC4D5E}"/>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24880" y="4974867"/>
            <a:ext cx="687431" cy="687431"/>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3" name="Rectángulo: esquinas redondeadas 12">
            <a:extLst>
              <a:ext uri="{FF2B5EF4-FFF2-40B4-BE49-F238E27FC236}">
                <a16:creationId xmlns:a16="http://schemas.microsoft.com/office/drawing/2014/main" id="{CBDBEC31-1287-E243-45E0-078C28645E38}"/>
              </a:ext>
            </a:extLst>
          </p:cNvPr>
          <p:cNvSpPr/>
          <p:nvPr/>
        </p:nvSpPr>
        <p:spPr>
          <a:xfrm>
            <a:off x="6507437" y="1281238"/>
            <a:ext cx="4722313" cy="92692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s-ES" sz="3200" b="1" dirty="0">
                <a:solidFill>
                  <a:schemeClr val="bg1"/>
                </a:solidFill>
              </a:rPr>
              <a:t>Rafael Hernández Kotasek</a:t>
            </a:r>
            <a:endParaRPr lang="es-MX" sz="3200" b="1" dirty="0">
              <a:solidFill>
                <a:schemeClr val="bg1"/>
              </a:solidFill>
            </a:endParaRPr>
          </a:p>
        </p:txBody>
      </p:sp>
      <p:pic>
        <p:nvPicPr>
          <p:cNvPr id="14" name="Picture 2" descr="Logotipo circular de facebook - Iconos gratis de redes sociales">
            <a:extLst>
              <a:ext uri="{FF2B5EF4-FFF2-40B4-BE49-F238E27FC236}">
                <a16:creationId xmlns:a16="http://schemas.microsoft.com/office/drawing/2014/main" id="{1AF6E9FD-9165-75D1-77C6-5E804362A2FA}"/>
              </a:ext>
            </a:extLst>
          </p:cNvPr>
          <p:cNvPicPr>
            <a:picLocks noChangeAspect="1" noChangeArrowheads="1"/>
          </p:cNvPicPr>
          <p:nvPr/>
        </p:nvPicPr>
        <p:blipFill>
          <a:blip r:embed="rId2">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24879" y="2418690"/>
            <a:ext cx="687431" cy="687431"/>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093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Diagrama 23"/>
          <p:cNvGraphicFramePr/>
          <p:nvPr>
            <p:extLst>
              <p:ext uri="{D42A27DB-BD31-4B8C-83A1-F6EECF244321}">
                <p14:modId xmlns:p14="http://schemas.microsoft.com/office/powerpoint/2010/main" val="1779888527"/>
              </p:ext>
            </p:extLst>
          </p:nvPr>
        </p:nvGraphicFramePr>
        <p:xfrm>
          <a:off x="1202025" y="866184"/>
          <a:ext cx="9787950" cy="54673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6" name="Picture 2" descr="cars "/>
          <p:cNvPicPr>
            <a:picLocks noChangeAspect="1" noChangeArrowheads="1"/>
          </p:cNvPicPr>
          <p:nvPr/>
        </p:nvPicPr>
        <p:blipFill>
          <a:blip r:embed="rId7">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556698" y="296718"/>
            <a:ext cx="774975" cy="76245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nducir "/>
          <p:cNvPicPr>
            <a:picLocks noChangeAspect="1" noChangeArrowheads="1"/>
          </p:cNvPicPr>
          <p:nvPr/>
        </p:nvPicPr>
        <p:blipFill>
          <a:blip r:embed="rId8">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11760" y="1059170"/>
            <a:ext cx="684156" cy="67310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ente "/>
          <p:cNvPicPr>
            <a:picLocks noChangeAspect="1" noChangeArrowheads="1"/>
          </p:cNvPicPr>
          <p:nvPr/>
        </p:nvPicPr>
        <p:blipFill>
          <a:blip r:embed="rId9">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67794" y="2365374"/>
            <a:ext cx="1081096" cy="106362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persona que cruza la calle en el paso de peatones "/>
          <p:cNvPicPr>
            <a:picLocks noChangeAspect="1" noChangeArrowheads="1"/>
          </p:cNvPicPr>
          <p:nvPr/>
        </p:nvPicPr>
        <p:blipFill>
          <a:blip r:embed="rId10">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453838" y="4735204"/>
            <a:ext cx="908443" cy="89376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ascacielos"/>
          <p:cNvPicPr>
            <a:picLocks noChangeAspect="1" noChangeArrowheads="1"/>
          </p:cNvPicPr>
          <p:nvPr/>
        </p:nvPicPr>
        <p:blipFill>
          <a:blip r:embed="rId11">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74214" y="6151992"/>
            <a:ext cx="668714" cy="65790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la carretera"/>
          <p:cNvPicPr>
            <a:picLocks noChangeAspect="1" noChangeArrowheads="1"/>
          </p:cNvPicPr>
          <p:nvPr/>
        </p:nvPicPr>
        <p:blipFill>
          <a:blip r:embed="rId1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48686" y="5161814"/>
            <a:ext cx="937945" cy="92278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estacionamiento"/>
          <p:cNvPicPr>
            <a:picLocks noChangeAspect="1" noChangeArrowheads="1"/>
          </p:cNvPicPr>
          <p:nvPr/>
        </p:nvPicPr>
        <p:blipFill>
          <a:blip r:embed="rId1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66784" y="3110015"/>
            <a:ext cx="913285" cy="898527"/>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Polución "/>
          <p:cNvPicPr>
            <a:picLocks noChangeAspect="1" noChangeArrowheads="1"/>
          </p:cNvPicPr>
          <p:nvPr/>
        </p:nvPicPr>
        <p:blipFill>
          <a:blip r:embed="rId14">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033485" y="1102668"/>
            <a:ext cx="868104" cy="854076"/>
          </a:xfrm>
          <a:prstGeom prst="rect">
            <a:avLst/>
          </a:prstGeom>
          <a:noFill/>
          <a:extLst>
            <a:ext uri="{909E8E84-426E-40DD-AFC4-6F175D3DCCD1}">
              <a14:hiddenFill xmlns:a14="http://schemas.microsoft.com/office/drawing/2010/main">
                <a:solidFill>
                  <a:srgbClr val="FFFFFF"/>
                </a:solidFill>
              </a14:hiddenFill>
            </a:ext>
          </a:extLst>
        </p:spPr>
      </p:pic>
      <p:sp>
        <p:nvSpPr>
          <p:cNvPr id="4" name="CuadroTexto 3"/>
          <p:cNvSpPr txBox="1"/>
          <p:nvPr/>
        </p:nvSpPr>
        <p:spPr>
          <a:xfrm>
            <a:off x="4760184" y="3244334"/>
            <a:ext cx="274357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MX" sz="1800" b="1" i="0" u="none" strike="noStrike" kern="1200" cap="none" spc="0" normalizeH="0" baseline="0" noProof="0" dirty="0">
                <a:ln>
                  <a:noFill/>
                </a:ln>
                <a:solidFill>
                  <a:prstClr val="black"/>
                </a:solidFill>
                <a:effectLst/>
                <a:uLnTx/>
                <a:uFillTx/>
                <a:latin typeface="Bahnschrift SemiCondensed" panose="020B0502040204020203" pitchFamily="34" charset="0"/>
                <a:ea typeface="+mn-ea"/>
                <a:cs typeface="+mn-cs"/>
              </a:rPr>
              <a:t>CAR DEPENDENCY CYCLE</a:t>
            </a:r>
          </a:p>
        </p:txBody>
      </p:sp>
      <p:sp>
        <p:nvSpPr>
          <p:cNvPr id="2" name="CuadroTexto 1">
            <a:extLst>
              <a:ext uri="{FF2B5EF4-FFF2-40B4-BE49-F238E27FC236}">
                <a16:creationId xmlns:a16="http://schemas.microsoft.com/office/drawing/2014/main" id="{E8341A95-1256-D953-AA0E-2F0808FEFCDF}"/>
              </a:ext>
            </a:extLst>
          </p:cNvPr>
          <p:cNvSpPr txBox="1"/>
          <p:nvPr/>
        </p:nvSpPr>
        <p:spPr>
          <a:xfrm>
            <a:off x="297713" y="374785"/>
            <a:ext cx="7024228" cy="478952"/>
          </a:xfrm>
          <a:prstGeom prst="rect">
            <a:avLst/>
          </a:prstGeom>
          <a:noFill/>
          <a:ln>
            <a:noFill/>
          </a:ln>
        </p:spPr>
        <p:txBody>
          <a:bodyPr wrap="square" lIns="0" tIns="0" rIns="0" bIns="0" rtlCol="0">
            <a:noAutofit/>
          </a:bodyPr>
          <a:lstStyle/>
          <a:p>
            <a:pPr algn="l"/>
            <a:r>
              <a:rPr lang="es-ES" sz="3200" b="1" dirty="0">
                <a:solidFill>
                  <a:schemeClr val="tx2"/>
                </a:solidFill>
                <a:latin typeface="Source Sans Pro" panose="020B0503030403020204" pitchFamily="34" charset="0"/>
                <a:ea typeface="Source Sans Pro" panose="020B0503030403020204" pitchFamily="34" charset="0"/>
              </a:rPr>
              <a:t>CONTEXT OF THE CITIES</a:t>
            </a:r>
            <a:endParaRPr lang="es-MX" sz="3200" b="1" dirty="0">
              <a:solidFill>
                <a:schemeClr val="tx2"/>
              </a:solidFill>
              <a:latin typeface="Source Sans Pro" panose="020B0503030403020204" pitchFamily="34" charset="0"/>
              <a:ea typeface="Source Sans Pro" panose="020B0503030403020204" pitchFamily="34" charset="0"/>
            </a:endParaRPr>
          </a:p>
        </p:txBody>
      </p:sp>
      <p:pic>
        <p:nvPicPr>
          <p:cNvPr id="3" name="Imagen 2" descr="Imagen que contiene objeto, reloj, dibujo&#10;&#10;Descripción generada automáticamente">
            <a:extLst>
              <a:ext uri="{FF2B5EF4-FFF2-40B4-BE49-F238E27FC236}">
                <a16:creationId xmlns:a16="http://schemas.microsoft.com/office/drawing/2014/main" id="{E3D5DC51-85D3-FAC7-6A2B-B600F341FCA2}"/>
              </a:ext>
            </a:extLst>
          </p:cNvPr>
          <p:cNvPicPr>
            <a:picLocks noChangeAspect="1"/>
          </p:cNvPicPr>
          <p:nvPr/>
        </p:nvPicPr>
        <p:blipFill>
          <a:blip r:embed="rId15"/>
          <a:stretch>
            <a:fillRect/>
          </a:stretch>
        </p:blipFill>
        <p:spPr>
          <a:xfrm>
            <a:off x="9646323" y="57473"/>
            <a:ext cx="2545677" cy="612000"/>
          </a:xfrm>
          <a:prstGeom prst="rect">
            <a:avLst/>
          </a:prstGeom>
        </p:spPr>
      </p:pic>
      <p:pic>
        <p:nvPicPr>
          <p:cNvPr id="5" name="Picture 11">
            <a:extLst>
              <a:ext uri="{FF2B5EF4-FFF2-40B4-BE49-F238E27FC236}">
                <a16:creationId xmlns:a16="http://schemas.microsoft.com/office/drawing/2014/main" id="{09AC110C-6E32-E6AB-F5AD-B0C617116555}"/>
              </a:ext>
            </a:extLst>
          </p:cNvPr>
          <p:cNvPicPr>
            <a:picLocks noChangeAspect="1"/>
          </p:cNvPicPr>
          <p:nvPr/>
        </p:nvPicPr>
        <p:blipFill>
          <a:blip r:embed="rId16" cstate="print">
            <a:duotone>
              <a:prstClr val="black"/>
              <a:srgbClr val="59AF31">
                <a:tint val="45000"/>
                <a:satMod val="400000"/>
              </a:srgbClr>
            </a:duotone>
            <a:extLst>
              <a:ext uri="{28A0092B-C50C-407E-A947-70E740481C1C}">
                <a14:useLocalDpi xmlns:a14="http://schemas.microsoft.com/office/drawing/2010/main" val="0"/>
              </a:ext>
            </a:extLst>
          </a:blip>
          <a:stretch>
            <a:fillRect/>
          </a:stretch>
        </p:blipFill>
        <p:spPr>
          <a:xfrm>
            <a:off x="297713" y="251550"/>
            <a:ext cx="2880000" cy="90024"/>
          </a:xfrm>
          <a:prstGeom prst="rect">
            <a:avLst/>
          </a:prstGeom>
        </p:spPr>
      </p:pic>
    </p:spTree>
    <p:extLst>
      <p:ext uri="{BB962C8B-B14F-4D97-AF65-F5344CB8AC3E}">
        <p14:creationId xmlns:p14="http://schemas.microsoft.com/office/powerpoint/2010/main" val="42327868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BAF91-1D9B-8323-4FFB-AF29A282F34B}"/>
            </a:ext>
          </a:extLst>
        </p:cNvPr>
        <p:cNvGrpSpPr/>
        <p:nvPr/>
      </p:nvGrpSpPr>
      <p:grpSpPr>
        <a:xfrm>
          <a:off x="0" y="0"/>
          <a:ext cx="0" cy="0"/>
          <a:chOff x="0" y="0"/>
          <a:chExt cx="0" cy="0"/>
        </a:xfrm>
      </p:grpSpPr>
      <p:sp>
        <p:nvSpPr>
          <p:cNvPr id="12" name="Título 11">
            <a:extLst>
              <a:ext uri="{FF2B5EF4-FFF2-40B4-BE49-F238E27FC236}">
                <a16:creationId xmlns:a16="http://schemas.microsoft.com/office/drawing/2014/main" id="{E1538D6C-D64A-D45E-00D6-7BCDE9DE0205}"/>
              </a:ext>
            </a:extLst>
          </p:cNvPr>
          <p:cNvSpPr>
            <a:spLocks noGrp="1"/>
          </p:cNvSpPr>
          <p:nvPr>
            <p:ph type="title"/>
          </p:nvPr>
        </p:nvSpPr>
        <p:spPr>
          <a:xfrm>
            <a:off x="4533863" y="3099588"/>
            <a:ext cx="3173267" cy="1012733"/>
          </a:xfrm>
        </p:spPr>
        <p:txBody>
          <a:bodyPr>
            <a:normAutofit/>
          </a:bodyPr>
          <a:lstStyle/>
          <a:p>
            <a:pPr algn="ctr"/>
            <a:r>
              <a:rPr lang="es-MX" sz="4000" b="1" dirty="0">
                <a:solidFill>
                  <a:schemeClr val="tx2"/>
                </a:solidFill>
                <a:latin typeface="+mn-lt"/>
              </a:rPr>
              <a:t>PREVIOUS CHALLENGES </a:t>
            </a:r>
          </a:p>
        </p:txBody>
      </p:sp>
      <p:sp>
        <p:nvSpPr>
          <p:cNvPr id="13" name="Rectángulo 12">
            <a:extLst>
              <a:ext uri="{FF2B5EF4-FFF2-40B4-BE49-F238E27FC236}">
                <a16:creationId xmlns:a16="http://schemas.microsoft.com/office/drawing/2014/main" id="{AF16461A-118A-6DC0-FFE8-7E3B8E22C4AC}"/>
              </a:ext>
            </a:extLst>
          </p:cNvPr>
          <p:cNvSpPr/>
          <p:nvPr/>
        </p:nvSpPr>
        <p:spPr>
          <a:xfrm>
            <a:off x="8376617" y="1018710"/>
            <a:ext cx="2737385" cy="1345813"/>
          </a:xfrm>
          <a:prstGeom prst="rect">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lIns="0" tIns="0" rIns="0" bIns="0" rtlCol="0" anchor="ctr"/>
          <a:lstStyle/>
          <a:p>
            <a:pPr algn="ctr"/>
            <a:endParaRPr lang="es-MX" dirty="0">
              <a:solidFill>
                <a:schemeClr val="bg1"/>
              </a:solidFill>
            </a:endParaRPr>
          </a:p>
        </p:txBody>
      </p:sp>
      <p:sp>
        <p:nvSpPr>
          <p:cNvPr id="17" name="CuadroTexto 16">
            <a:extLst>
              <a:ext uri="{FF2B5EF4-FFF2-40B4-BE49-F238E27FC236}">
                <a16:creationId xmlns:a16="http://schemas.microsoft.com/office/drawing/2014/main" id="{EEB2338A-2565-0FFC-68D5-0E3F1837E76E}"/>
              </a:ext>
            </a:extLst>
          </p:cNvPr>
          <p:cNvSpPr txBox="1"/>
          <p:nvPr/>
        </p:nvSpPr>
        <p:spPr>
          <a:xfrm>
            <a:off x="1346422" y="1324738"/>
            <a:ext cx="2265458" cy="646331"/>
          </a:xfrm>
          <a:prstGeom prst="rect">
            <a:avLst/>
          </a:prstGeom>
          <a:noFill/>
          <a:ln>
            <a:noFill/>
          </a:ln>
        </p:spPr>
        <p:txBody>
          <a:bodyPr wrap="square">
            <a:spAutoFit/>
          </a:bodyPr>
          <a:lstStyle/>
          <a:p>
            <a:pPr marL="285750" indent="-285750">
              <a:buFont typeface="Arial" panose="020B0604020202020204" pitchFamily="34" charset="0"/>
              <a:buChar char="•"/>
            </a:pPr>
            <a:r>
              <a:rPr lang="es-MX" dirty="0" err="1"/>
              <a:t>Public</a:t>
            </a:r>
            <a:r>
              <a:rPr lang="es-MX" dirty="0"/>
              <a:t> </a:t>
            </a:r>
            <a:r>
              <a:rPr lang="es-MX" dirty="0" err="1"/>
              <a:t>transport</a:t>
            </a:r>
            <a:r>
              <a:rPr lang="es-MX" dirty="0"/>
              <a:t> as a </a:t>
            </a:r>
            <a:r>
              <a:rPr lang="es-MX" dirty="0" err="1"/>
              <a:t>Political</a:t>
            </a:r>
            <a:r>
              <a:rPr lang="es-MX" dirty="0"/>
              <a:t> </a:t>
            </a:r>
            <a:r>
              <a:rPr lang="es-MX" dirty="0" err="1"/>
              <a:t>tool</a:t>
            </a:r>
            <a:endParaRPr lang="es-MX" dirty="0"/>
          </a:p>
        </p:txBody>
      </p:sp>
      <p:sp>
        <p:nvSpPr>
          <p:cNvPr id="18" name="Rectángulo 17">
            <a:extLst>
              <a:ext uri="{FF2B5EF4-FFF2-40B4-BE49-F238E27FC236}">
                <a16:creationId xmlns:a16="http://schemas.microsoft.com/office/drawing/2014/main" id="{246E729B-C0DE-D607-8CE9-D7933B28CB09}"/>
              </a:ext>
            </a:extLst>
          </p:cNvPr>
          <p:cNvSpPr/>
          <p:nvPr/>
        </p:nvSpPr>
        <p:spPr>
          <a:xfrm>
            <a:off x="4687968" y="998575"/>
            <a:ext cx="2865059" cy="1373094"/>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lIns="0" tIns="0" rIns="0" bIns="0" rtlCol="0" anchor="ctr"/>
          <a:lstStyle/>
          <a:p>
            <a:pPr algn="ctr"/>
            <a:endParaRPr lang="es-MX" dirty="0">
              <a:solidFill>
                <a:schemeClr val="bg1"/>
              </a:solidFill>
            </a:endParaRPr>
          </a:p>
        </p:txBody>
      </p:sp>
      <p:sp>
        <p:nvSpPr>
          <p:cNvPr id="19" name="CuadroTexto 18">
            <a:extLst>
              <a:ext uri="{FF2B5EF4-FFF2-40B4-BE49-F238E27FC236}">
                <a16:creationId xmlns:a16="http://schemas.microsoft.com/office/drawing/2014/main" id="{204CE317-089A-0FA6-6307-71F402929EB2}"/>
              </a:ext>
            </a:extLst>
          </p:cNvPr>
          <p:cNvSpPr txBox="1"/>
          <p:nvPr/>
        </p:nvSpPr>
        <p:spPr>
          <a:xfrm>
            <a:off x="4794115" y="1163215"/>
            <a:ext cx="2957452" cy="923330"/>
          </a:xfrm>
          <a:prstGeom prst="rect">
            <a:avLst/>
          </a:prstGeom>
          <a:noFill/>
          <a:ln>
            <a:noFill/>
          </a:ln>
        </p:spPr>
        <p:txBody>
          <a:bodyPr wrap="square">
            <a:spAutoFit/>
          </a:bodyPr>
          <a:lstStyle/>
          <a:p>
            <a:pPr marL="285750" indent="-285750">
              <a:buFont typeface="Arial" panose="020B0604020202020204" pitchFamily="34" charset="0"/>
              <a:buChar char="•"/>
            </a:pPr>
            <a:r>
              <a:rPr lang="es-MX" dirty="0"/>
              <a:t>Legal </a:t>
            </a:r>
            <a:r>
              <a:rPr lang="es-MX" dirty="0" err="1"/>
              <a:t>Uncertainty</a:t>
            </a:r>
            <a:endParaRPr lang="es-MX" dirty="0"/>
          </a:p>
          <a:p>
            <a:r>
              <a:rPr lang="es-MX" dirty="0"/>
              <a:t> (</a:t>
            </a:r>
            <a:r>
              <a:rPr lang="en-US" dirty="0"/>
              <a:t>No incentives for quality)</a:t>
            </a:r>
          </a:p>
          <a:p>
            <a:pPr marL="285750" indent="-285750">
              <a:buFont typeface="Arial" panose="020B0604020202020204" pitchFamily="34" charset="0"/>
              <a:buChar char="•"/>
            </a:pPr>
            <a:r>
              <a:rPr lang="en-US" dirty="0"/>
              <a:t>Uncertainty</a:t>
            </a:r>
            <a:r>
              <a:rPr lang="es-MX" dirty="0"/>
              <a:t> </a:t>
            </a:r>
          </a:p>
        </p:txBody>
      </p:sp>
      <p:sp>
        <p:nvSpPr>
          <p:cNvPr id="20" name="Rectángulo 19">
            <a:extLst>
              <a:ext uri="{FF2B5EF4-FFF2-40B4-BE49-F238E27FC236}">
                <a16:creationId xmlns:a16="http://schemas.microsoft.com/office/drawing/2014/main" id="{C7ADF065-A897-C82A-F7C9-60D7391BC520}"/>
              </a:ext>
            </a:extLst>
          </p:cNvPr>
          <p:cNvSpPr/>
          <p:nvPr/>
        </p:nvSpPr>
        <p:spPr>
          <a:xfrm>
            <a:off x="1077998" y="1075812"/>
            <a:ext cx="2865058" cy="137309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0" tIns="0" rIns="0" bIns="0" rtlCol="0" anchor="ctr"/>
          <a:lstStyle/>
          <a:p>
            <a:pPr algn="ctr"/>
            <a:endParaRPr lang="es-MX" dirty="0">
              <a:solidFill>
                <a:schemeClr val="bg1"/>
              </a:solidFill>
            </a:endParaRPr>
          </a:p>
        </p:txBody>
      </p:sp>
      <p:sp>
        <p:nvSpPr>
          <p:cNvPr id="21" name="CuadroTexto 20">
            <a:extLst>
              <a:ext uri="{FF2B5EF4-FFF2-40B4-BE49-F238E27FC236}">
                <a16:creationId xmlns:a16="http://schemas.microsoft.com/office/drawing/2014/main" id="{85066790-05A2-E8A5-5802-CAB2F9FF208D}"/>
              </a:ext>
            </a:extLst>
          </p:cNvPr>
          <p:cNvSpPr txBox="1"/>
          <p:nvPr/>
        </p:nvSpPr>
        <p:spPr>
          <a:xfrm>
            <a:off x="8360868" y="1106696"/>
            <a:ext cx="2694619" cy="1200329"/>
          </a:xfrm>
          <a:prstGeom prst="rect">
            <a:avLst/>
          </a:prstGeom>
          <a:noFill/>
          <a:ln>
            <a:noFill/>
          </a:ln>
        </p:spPr>
        <p:txBody>
          <a:bodyPr wrap="square">
            <a:spAutoFit/>
          </a:bodyPr>
          <a:lstStyle/>
          <a:p>
            <a:pPr marL="285750" indent="-285750">
              <a:buFont typeface="Arial" panose="020B0604020202020204" pitchFamily="34" charset="0"/>
              <a:buChar char="•"/>
            </a:pPr>
            <a:r>
              <a:rPr lang="es-ES" dirty="0"/>
              <a:t>No </a:t>
            </a:r>
            <a:r>
              <a:rPr lang="es-ES" dirty="0" err="1"/>
              <a:t>information</a:t>
            </a:r>
            <a:r>
              <a:rPr lang="es-ES" dirty="0"/>
              <a:t>/data </a:t>
            </a:r>
          </a:p>
          <a:p>
            <a:r>
              <a:rPr lang="es-ES" dirty="0"/>
              <a:t>- </a:t>
            </a:r>
            <a:r>
              <a:rPr lang="es-ES" dirty="0" err="1"/>
              <a:t>Routes</a:t>
            </a:r>
            <a:endParaRPr lang="es-ES" dirty="0"/>
          </a:p>
          <a:p>
            <a:r>
              <a:rPr lang="es-ES" dirty="0"/>
              <a:t>-</a:t>
            </a:r>
            <a:r>
              <a:rPr lang="es-ES" dirty="0" err="1"/>
              <a:t>Distances</a:t>
            </a:r>
            <a:endParaRPr lang="es-ES" dirty="0"/>
          </a:p>
          <a:p>
            <a:r>
              <a:rPr lang="es-ES" dirty="0"/>
              <a:t>-</a:t>
            </a:r>
            <a:r>
              <a:rPr lang="es-ES" dirty="0" err="1"/>
              <a:t>Origin</a:t>
            </a:r>
            <a:r>
              <a:rPr lang="es-ES" dirty="0"/>
              <a:t>, </a:t>
            </a:r>
            <a:r>
              <a:rPr lang="es-ES" dirty="0" err="1"/>
              <a:t>destination</a:t>
            </a:r>
            <a:r>
              <a:rPr lang="es-ES" dirty="0"/>
              <a:t> </a:t>
            </a:r>
            <a:endParaRPr lang="es-MX" dirty="0"/>
          </a:p>
        </p:txBody>
      </p:sp>
      <p:sp>
        <p:nvSpPr>
          <p:cNvPr id="22" name="Rectángulo 21">
            <a:extLst>
              <a:ext uri="{FF2B5EF4-FFF2-40B4-BE49-F238E27FC236}">
                <a16:creationId xmlns:a16="http://schemas.microsoft.com/office/drawing/2014/main" id="{95BAF40F-58EE-A0C0-2DDC-A9DAC4DDC439}"/>
              </a:ext>
            </a:extLst>
          </p:cNvPr>
          <p:cNvSpPr/>
          <p:nvPr/>
        </p:nvSpPr>
        <p:spPr>
          <a:xfrm>
            <a:off x="1075307" y="4826513"/>
            <a:ext cx="2865058" cy="1285711"/>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lIns="0" tIns="0" rIns="0" bIns="0" rtlCol="0" anchor="ctr"/>
          <a:lstStyle/>
          <a:p>
            <a:pPr algn="ctr"/>
            <a:endParaRPr lang="es-MX" dirty="0">
              <a:solidFill>
                <a:schemeClr val="bg1"/>
              </a:solidFill>
            </a:endParaRPr>
          </a:p>
        </p:txBody>
      </p:sp>
      <p:sp>
        <p:nvSpPr>
          <p:cNvPr id="23" name="CuadroTexto 22">
            <a:extLst>
              <a:ext uri="{FF2B5EF4-FFF2-40B4-BE49-F238E27FC236}">
                <a16:creationId xmlns:a16="http://schemas.microsoft.com/office/drawing/2014/main" id="{FAC9BD62-2769-9BF1-E582-4DE327F3AEE6}"/>
              </a:ext>
            </a:extLst>
          </p:cNvPr>
          <p:cNvSpPr txBox="1"/>
          <p:nvPr/>
        </p:nvSpPr>
        <p:spPr>
          <a:xfrm>
            <a:off x="1006088" y="5130452"/>
            <a:ext cx="2858003" cy="646331"/>
          </a:xfrm>
          <a:prstGeom prst="rect">
            <a:avLst/>
          </a:prstGeom>
          <a:noFill/>
          <a:ln>
            <a:noFill/>
          </a:ln>
        </p:spPr>
        <p:txBody>
          <a:bodyPr wrap="square">
            <a:spAutoFit/>
          </a:bodyPr>
          <a:lstStyle/>
          <a:p>
            <a:pPr marL="285750" indent="-285750">
              <a:buFont typeface="Arial" panose="020B0604020202020204" pitchFamily="34" charset="0"/>
              <a:buChar char="•"/>
            </a:pPr>
            <a:r>
              <a:rPr lang="en-US" dirty="0"/>
              <a:t>Broken financial systems </a:t>
            </a:r>
          </a:p>
          <a:p>
            <a:pPr marL="285750" indent="-285750">
              <a:buFont typeface="Arial" panose="020B0604020202020204" pitchFamily="34" charset="0"/>
              <a:buChar char="•"/>
            </a:pPr>
            <a:r>
              <a:rPr lang="en-US" dirty="0"/>
              <a:t>Lack of sector credibility</a:t>
            </a:r>
            <a:endParaRPr lang="es-MX" dirty="0"/>
          </a:p>
        </p:txBody>
      </p:sp>
      <p:sp>
        <p:nvSpPr>
          <p:cNvPr id="58" name="Rectángulo 57">
            <a:extLst>
              <a:ext uri="{FF2B5EF4-FFF2-40B4-BE49-F238E27FC236}">
                <a16:creationId xmlns:a16="http://schemas.microsoft.com/office/drawing/2014/main" id="{B568D8D8-E55F-8583-464E-44D0EE3AD1B5}"/>
              </a:ext>
            </a:extLst>
          </p:cNvPr>
          <p:cNvSpPr/>
          <p:nvPr/>
        </p:nvSpPr>
        <p:spPr>
          <a:xfrm>
            <a:off x="1085055" y="3003098"/>
            <a:ext cx="2865058" cy="1327424"/>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0" tIns="0" rIns="0" bIns="0" rtlCol="0" anchor="ctr"/>
          <a:lstStyle/>
          <a:p>
            <a:pPr algn="ctr"/>
            <a:endParaRPr lang="es-MX" dirty="0">
              <a:solidFill>
                <a:schemeClr val="bg1"/>
              </a:solidFill>
            </a:endParaRPr>
          </a:p>
        </p:txBody>
      </p:sp>
      <p:sp>
        <p:nvSpPr>
          <p:cNvPr id="60" name="CuadroTexto 59">
            <a:extLst>
              <a:ext uri="{FF2B5EF4-FFF2-40B4-BE49-F238E27FC236}">
                <a16:creationId xmlns:a16="http://schemas.microsoft.com/office/drawing/2014/main" id="{CDF3891D-9180-A5B9-8C91-1C78F2290FD3}"/>
              </a:ext>
            </a:extLst>
          </p:cNvPr>
          <p:cNvSpPr txBox="1"/>
          <p:nvPr/>
        </p:nvSpPr>
        <p:spPr>
          <a:xfrm>
            <a:off x="999320" y="3245949"/>
            <a:ext cx="3046970" cy="646331"/>
          </a:xfrm>
          <a:prstGeom prst="rect">
            <a:avLst/>
          </a:prstGeom>
          <a:noFill/>
          <a:ln>
            <a:noFill/>
          </a:ln>
        </p:spPr>
        <p:txBody>
          <a:bodyPr wrap="square">
            <a:spAutoFit/>
          </a:bodyPr>
          <a:lstStyle/>
          <a:p>
            <a:pPr marL="285750" indent="-285750">
              <a:buFont typeface="Arial" panose="020B0604020202020204" pitchFamily="34" charset="0"/>
              <a:buChar char="•"/>
            </a:pPr>
            <a:r>
              <a:rPr lang="es-MX" dirty="0"/>
              <a:t>Low </a:t>
            </a:r>
            <a:r>
              <a:rPr lang="es-MX" dirty="0" err="1"/>
              <a:t>integration</a:t>
            </a:r>
            <a:r>
              <a:rPr lang="es-MX" dirty="0"/>
              <a:t> </a:t>
            </a:r>
            <a:r>
              <a:rPr lang="es-MX" dirty="0" err="1"/>
              <a:t>with</a:t>
            </a:r>
            <a:r>
              <a:rPr lang="es-MX" dirty="0"/>
              <a:t> </a:t>
            </a:r>
            <a:r>
              <a:rPr lang="es-MX" dirty="0" err="1"/>
              <a:t>other</a:t>
            </a:r>
            <a:r>
              <a:rPr lang="es-MX" dirty="0"/>
              <a:t> </a:t>
            </a:r>
            <a:r>
              <a:rPr lang="es-MX" dirty="0" err="1"/>
              <a:t>modes</a:t>
            </a:r>
            <a:r>
              <a:rPr lang="es-MX" dirty="0"/>
              <a:t> </a:t>
            </a:r>
            <a:r>
              <a:rPr lang="es-MX" dirty="0" err="1"/>
              <a:t>of</a:t>
            </a:r>
            <a:r>
              <a:rPr lang="es-MX" dirty="0"/>
              <a:t> </a:t>
            </a:r>
            <a:r>
              <a:rPr lang="es-MX" dirty="0" err="1"/>
              <a:t>transportation</a:t>
            </a:r>
            <a:r>
              <a:rPr lang="es-MX" dirty="0"/>
              <a:t> </a:t>
            </a:r>
          </a:p>
        </p:txBody>
      </p:sp>
      <p:sp>
        <p:nvSpPr>
          <p:cNvPr id="61" name="Rectángulo 60">
            <a:extLst>
              <a:ext uri="{FF2B5EF4-FFF2-40B4-BE49-F238E27FC236}">
                <a16:creationId xmlns:a16="http://schemas.microsoft.com/office/drawing/2014/main" id="{5ECE9F84-97F7-1F78-1236-F44EA2C0B15E}"/>
              </a:ext>
            </a:extLst>
          </p:cNvPr>
          <p:cNvSpPr/>
          <p:nvPr/>
        </p:nvSpPr>
        <p:spPr>
          <a:xfrm>
            <a:off x="8359846" y="3028769"/>
            <a:ext cx="2747099" cy="1247404"/>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lIns="0" tIns="0" rIns="0" bIns="0" rtlCol="0" anchor="ctr"/>
          <a:lstStyle/>
          <a:p>
            <a:pPr algn="ctr"/>
            <a:endParaRPr lang="es-MX" dirty="0">
              <a:solidFill>
                <a:schemeClr val="bg1"/>
              </a:solidFill>
            </a:endParaRPr>
          </a:p>
        </p:txBody>
      </p:sp>
      <p:sp>
        <p:nvSpPr>
          <p:cNvPr id="63" name="CuadroTexto 62">
            <a:extLst>
              <a:ext uri="{FF2B5EF4-FFF2-40B4-BE49-F238E27FC236}">
                <a16:creationId xmlns:a16="http://schemas.microsoft.com/office/drawing/2014/main" id="{B42DC558-9C43-B6AB-B0A3-E8B6EC1751BA}"/>
              </a:ext>
            </a:extLst>
          </p:cNvPr>
          <p:cNvSpPr txBox="1"/>
          <p:nvPr/>
        </p:nvSpPr>
        <p:spPr>
          <a:xfrm>
            <a:off x="8627144" y="3242041"/>
            <a:ext cx="2108655" cy="923330"/>
          </a:xfrm>
          <a:prstGeom prst="rect">
            <a:avLst/>
          </a:prstGeom>
          <a:noFill/>
          <a:ln>
            <a:noFill/>
          </a:ln>
        </p:spPr>
        <p:txBody>
          <a:bodyPr wrap="square">
            <a:spAutoFit/>
          </a:bodyPr>
          <a:lstStyle/>
          <a:p>
            <a:pPr marL="285750" indent="-285750">
              <a:buFont typeface="Arial" panose="020B0604020202020204" pitchFamily="34" charset="0"/>
              <a:buChar char="•"/>
            </a:pPr>
            <a:r>
              <a:rPr lang="es-MX" dirty="0" err="1"/>
              <a:t>Lack</a:t>
            </a:r>
            <a:r>
              <a:rPr lang="es-MX" dirty="0"/>
              <a:t> </a:t>
            </a:r>
            <a:r>
              <a:rPr lang="es-MX" dirty="0" err="1"/>
              <a:t>of</a:t>
            </a:r>
            <a:r>
              <a:rPr lang="es-MX" dirty="0"/>
              <a:t> </a:t>
            </a:r>
            <a:r>
              <a:rPr lang="es-MX" dirty="0" err="1"/>
              <a:t>expertise</a:t>
            </a:r>
            <a:r>
              <a:rPr lang="es-MX" dirty="0"/>
              <a:t> </a:t>
            </a:r>
            <a:r>
              <a:rPr lang="es-MX" dirty="0" err="1"/>
              <a:t>on</a:t>
            </a:r>
            <a:r>
              <a:rPr lang="es-MX" dirty="0"/>
              <a:t> PT/ human capital</a:t>
            </a:r>
          </a:p>
        </p:txBody>
      </p:sp>
      <p:sp>
        <p:nvSpPr>
          <p:cNvPr id="64" name="Rectángulo 63">
            <a:extLst>
              <a:ext uri="{FF2B5EF4-FFF2-40B4-BE49-F238E27FC236}">
                <a16:creationId xmlns:a16="http://schemas.microsoft.com/office/drawing/2014/main" id="{A10B439E-FDB4-FCB4-B2D1-D461250DA868}"/>
              </a:ext>
            </a:extLst>
          </p:cNvPr>
          <p:cNvSpPr/>
          <p:nvPr/>
        </p:nvSpPr>
        <p:spPr>
          <a:xfrm>
            <a:off x="8346508" y="4742448"/>
            <a:ext cx="2764426" cy="1240537"/>
          </a:xfrm>
          <a:prstGeom prst="rect">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lIns="0" tIns="0" rIns="0" bIns="0" rtlCol="0" anchor="ctr"/>
          <a:lstStyle/>
          <a:p>
            <a:pPr algn="ctr"/>
            <a:endParaRPr lang="es-MX" dirty="0">
              <a:solidFill>
                <a:schemeClr val="bg1"/>
              </a:solidFill>
            </a:endParaRPr>
          </a:p>
        </p:txBody>
      </p:sp>
      <p:sp>
        <p:nvSpPr>
          <p:cNvPr id="66" name="CuadroTexto 65">
            <a:extLst>
              <a:ext uri="{FF2B5EF4-FFF2-40B4-BE49-F238E27FC236}">
                <a16:creationId xmlns:a16="http://schemas.microsoft.com/office/drawing/2014/main" id="{566F5374-F047-601F-83EA-520312E654D5}"/>
              </a:ext>
            </a:extLst>
          </p:cNvPr>
          <p:cNvSpPr txBox="1"/>
          <p:nvPr/>
        </p:nvSpPr>
        <p:spPr>
          <a:xfrm>
            <a:off x="8686240" y="5072582"/>
            <a:ext cx="1876302" cy="646331"/>
          </a:xfrm>
          <a:prstGeom prst="rect">
            <a:avLst/>
          </a:prstGeom>
          <a:noFill/>
          <a:ln>
            <a:noFill/>
          </a:ln>
        </p:spPr>
        <p:txBody>
          <a:bodyPr wrap="square">
            <a:spAutoFit/>
          </a:bodyPr>
          <a:lstStyle/>
          <a:p>
            <a:pPr marL="285750" indent="-285750">
              <a:buFont typeface="Arial" panose="020B0604020202020204" pitchFamily="34" charset="0"/>
              <a:buChar char="•"/>
            </a:pPr>
            <a:r>
              <a:rPr lang="es-MX" dirty="0"/>
              <a:t>Low </a:t>
            </a:r>
            <a:r>
              <a:rPr lang="es-MX" dirty="0" err="1"/>
              <a:t>levels</a:t>
            </a:r>
            <a:r>
              <a:rPr lang="es-MX" dirty="0"/>
              <a:t> </a:t>
            </a:r>
            <a:r>
              <a:rPr lang="es-MX" dirty="0" err="1"/>
              <a:t>of</a:t>
            </a:r>
            <a:r>
              <a:rPr lang="es-MX" dirty="0"/>
              <a:t> </a:t>
            </a:r>
            <a:r>
              <a:rPr lang="es-MX" dirty="0" err="1"/>
              <a:t>digitization</a:t>
            </a:r>
            <a:endParaRPr lang="es-MX" dirty="0"/>
          </a:p>
        </p:txBody>
      </p:sp>
      <p:sp>
        <p:nvSpPr>
          <p:cNvPr id="67" name="CuadroTexto 66">
            <a:extLst>
              <a:ext uri="{FF2B5EF4-FFF2-40B4-BE49-F238E27FC236}">
                <a16:creationId xmlns:a16="http://schemas.microsoft.com/office/drawing/2014/main" id="{F6E82942-AC78-D733-01A7-09786A27CC42}"/>
              </a:ext>
            </a:extLst>
          </p:cNvPr>
          <p:cNvSpPr txBox="1"/>
          <p:nvPr/>
        </p:nvSpPr>
        <p:spPr>
          <a:xfrm>
            <a:off x="4749454" y="5262115"/>
            <a:ext cx="2693091" cy="369332"/>
          </a:xfrm>
          <a:prstGeom prst="rect">
            <a:avLst/>
          </a:prstGeom>
          <a:noFill/>
          <a:ln>
            <a:noFill/>
          </a:ln>
        </p:spPr>
        <p:txBody>
          <a:bodyPr wrap="square">
            <a:spAutoFit/>
          </a:bodyPr>
          <a:lstStyle/>
          <a:p>
            <a:pPr marL="285750" indent="-285750">
              <a:buFont typeface="Arial" panose="020B0604020202020204" pitchFamily="34" charset="0"/>
              <a:buChar char="•"/>
            </a:pPr>
            <a:r>
              <a:rPr lang="es-MX" dirty="0" err="1"/>
              <a:t>Limited</a:t>
            </a:r>
            <a:r>
              <a:rPr lang="es-MX" dirty="0"/>
              <a:t> </a:t>
            </a:r>
            <a:r>
              <a:rPr lang="es-MX" dirty="0" err="1"/>
              <a:t>infrastructure</a:t>
            </a:r>
            <a:endParaRPr lang="es-MX" dirty="0"/>
          </a:p>
        </p:txBody>
      </p:sp>
      <p:sp>
        <p:nvSpPr>
          <p:cNvPr id="69" name="Rectángulo 68">
            <a:extLst>
              <a:ext uri="{FF2B5EF4-FFF2-40B4-BE49-F238E27FC236}">
                <a16:creationId xmlns:a16="http://schemas.microsoft.com/office/drawing/2014/main" id="{3D350823-B860-6633-DA44-0A5FEB35D25E}"/>
              </a:ext>
            </a:extLst>
          </p:cNvPr>
          <p:cNvSpPr/>
          <p:nvPr/>
        </p:nvSpPr>
        <p:spPr>
          <a:xfrm>
            <a:off x="4655301" y="4826513"/>
            <a:ext cx="2919403" cy="1240537"/>
          </a:xfrm>
          <a:prstGeom prst="rect">
            <a:avLst/>
          </a:prstGeom>
          <a:noFill/>
          <a:ln w="9525" cap="flat" cmpd="sng" algn="ctr">
            <a:solidFill>
              <a:schemeClr val="accent2"/>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lIns="0" tIns="0" rIns="0" bIns="0" rtlCol="0" anchor="ctr"/>
          <a:lstStyle/>
          <a:p>
            <a:pPr algn="ctr"/>
            <a:endParaRPr lang="es-MX" dirty="0">
              <a:solidFill>
                <a:schemeClr val="bg1"/>
              </a:solidFill>
            </a:endParaRPr>
          </a:p>
        </p:txBody>
      </p:sp>
      <p:cxnSp>
        <p:nvCxnSpPr>
          <p:cNvPr id="75" name="Conector recto de flecha 74">
            <a:extLst>
              <a:ext uri="{FF2B5EF4-FFF2-40B4-BE49-F238E27FC236}">
                <a16:creationId xmlns:a16="http://schemas.microsoft.com/office/drawing/2014/main" id="{ED64D841-50E8-25B0-1654-9EF907CACF94}"/>
              </a:ext>
            </a:extLst>
          </p:cNvPr>
          <p:cNvCxnSpPr>
            <a:cxnSpLocks/>
            <a:stCxn id="20" idx="3"/>
          </p:cNvCxnSpPr>
          <p:nvPr/>
        </p:nvCxnSpPr>
        <p:spPr>
          <a:xfrm>
            <a:off x="3943056" y="1762359"/>
            <a:ext cx="756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Conector recto de flecha 77">
            <a:extLst>
              <a:ext uri="{FF2B5EF4-FFF2-40B4-BE49-F238E27FC236}">
                <a16:creationId xmlns:a16="http://schemas.microsoft.com/office/drawing/2014/main" id="{77980617-32D1-B09A-E8CF-8EC878F8CDA8}"/>
              </a:ext>
            </a:extLst>
          </p:cNvPr>
          <p:cNvCxnSpPr>
            <a:cxnSpLocks/>
          </p:cNvCxnSpPr>
          <p:nvPr/>
        </p:nvCxnSpPr>
        <p:spPr>
          <a:xfrm>
            <a:off x="7580270" y="1767687"/>
            <a:ext cx="79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Conector recto de flecha 80">
            <a:extLst>
              <a:ext uri="{FF2B5EF4-FFF2-40B4-BE49-F238E27FC236}">
                <a16:creationId xmlns:a16="http://schemas.microsoft.com/office/drawing/2014/main" id="{9E6A38C9-A8FD-E56F-540D-DCEA345DF685}"/>
              </a:ext>
            </a:extLst>
          </p:cNvPr>
          <p:cNvCxnSpPr>
            <a:cxnSpLocks/>
            <a:endCxn id="61" idx="0"/>
          </p:cNvCxnSpPr>
          <p:nvPr/>
        </p:nvCxnSpPr>
        <p:spPr>
          <a:xfrm>
            <a:off x="9624391" y="2371669"/>
            <a:ext cx="0" cy="6571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Conector recto de flecha 84">
            <a:extLst>
              <a:ext uri="{FF2B5EF4-FFF2-40B4-BE49-F238E27FC236}">
                <a16:creationId xmlns:a16="http://schemas.microsoft.com/office/drawing/2014/main" id="{41046AC2-6F6E-ED5E-05A1-16EB0D3B8A58}"/>
              </a:ext>
            </a:extLst>
          </p:cNvPr>
          <p:cNvCxnSpPr>
            <a:cxnSpLocks/>
          </p:cNvCxnSpPr>
          <p:nvPr/>
        </p:nvCxnSpPr>
        <p:spPr>
          <a:xfrm flipH="1">
            <a:off x="7574704" y="5330477"/>
            <a:ext cx="792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3" name="Conector recto de flecha 112">
            <a:extLst>
              <a:ext uri="{FF2B5EF4-FFF2-40B4-BE49-F238E27FC236}">
                <a16:creationId xmlns:a16="http://schemas.microsoft.com/office/drawing/2014/main" id="{391FEB0A-A2DC-8467-0BFB-1BCD9A611931}"/>
              </a:ext>
            </a:extLst>
          </p:cNvPr>
          <p:cNvCxnSpPr>
            <a:cxnSpLocks/>
          </p:cNvCxnSpPr>
          <p:nvPr/>
        </p:nvCxnSpPr>
        <p:spPr>
          <a:xfrm flipV="1">
            <a:off x="2435089" y="2451501"/>
            <a:ext cx="0" cy="576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Conector recto de flecha 4">
            <a:extLst>
              <a:ext uri="{FF2B5EF4-FFF2-40B4-BE49-F238E27FC236}">
                <a16:creationId xmlns:a16="http://schemas.microsoft.com/office/drawing/2014/main" id="{1CF639C9-9921-BACA-FDBB-672F87FDA2BA}"/>
              </a:ext>
            </a:extLst>
          </p:cNvPr>
          <p:cNvCxnSpPr>
            <a:cxnSpLocks/>
          </p:cNvCxnSpPr>
          <p:nvPr/>
        </p:nvCxnSpPr>
        <p:spPr>
          <a:xfrm>
            <a:off x="9624391" y="4276173"/>
            <a:ext cx="0" cy="4662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Conector recto de flecha 6">
            <a:extLst>
              <a:ext uri="{FF2B5EF4-FFF2-40B4-BE49-F238E27FC236}">
                <a16:creationId xmlns:a16="http://schemas.microsoft.com/office/drawing/2014/main" id="{AF6B4885-1953-8414-4670-6CEA32F8C409}"/>
              </a:ext>
            </a:extLst>
          </p:cNvPr>
          <p:cNvCxnSpPr>
            <a:cxnSpLocks/>
          </p:cNvCxnSpPr>
          <p:nvPr/>
        </p:nvCxnSpPr>
        <p:spPr>
          <a:xfrm flipH="1">
            <a:off x="3950113" y="5454275"/>
            <a:ext cx="7200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Conector recto de flecha 8">
            <a:extLst>
              <a:ext uri="{FF2B5EF4-FFF2-40B4-BE49-F238E27FC236}">
                <a16:creationId xmlns:a16="http://schemas.microsoft.com/office/drawing/2014/main" id="{B05AD2CD-47AC-3D92-8F03-0F789846E804}"/>
              </a:ext>
            </a:extLst>
          </p:cNvPr>
          <p:cNvCxnSpPr>
            <a:cxnSpLocks/>
          </p:cNvCxnSpPr>
          <p:nvPr/>
        </p:nvCxnSpPr>
        <p:spPr>
          <a:xfrm flipH="1" flipV="1">
            <a:off x="2452655" y="4330522"/>
            <a:ext cx="0" cy="4680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 name="Imagen 1" descr="Imagen que contiene objeto, reloj, dibujo&#10;&#10;Descripción generada automáticamente">
            <a:extLst>
              <a:ext uri="{FF2B5EF4-FFF2-40B4-BE49-F238E27FC236}">
                <a16:creationId xmlns:a16="http://schemas.microsoft.com/office/drawing/2014/main" id="{DE2B5E6A-9DF1-4AFE-6011-D7273571D7BF}"/>
              </a:ext>
            </a:extLst>
          </p:cNvPr>
          <p:cNvPicPr>
            <a:picLocks noChangeAspect="1"/>
          </p:cNvPicPr>
          <p:nvPr/>
        </p:nvPicPr>
        <p:blipFill>
          <a:blip r:embed="rId3"/>
          <a:stretch>
            <a:fillRect/>
          </a:stretch>
        </p:blipFill>
        <p:spPr>
          <a:xfrm>
            <a:off x="9646323" y="57473"/>
            <a:ext cx="2545677" cy="612000"/>
          </a:xfrm>
          <a:prstGeom prst="rect">
            <a:avLst/>
          </a:prstGeom>
        </p:spPr>
      </p:pic>
      <p:pic>
        <p:nvPicPr>
          <p:cNvPr id="3" name="Picture 11">
            <a:extLst>
              <a:ext uri="{FF2B5EF4-FFF2-40B4-BE49-F238E27FC236}">
                <a16:creationId xmlns:a16="http://schemas.microsoft.com/office/drawing/2014/main" id="{3F3C4204-17A7-D39E-5778-886B235E6837}"/>
              </a:ext>
            </a:extLst>
          </p:cNvPr>
          <p:cNvPicPr>
            <a:picLocks noChangeAspect="1"/>
          </p:cNvPicPr>
          <p:nvPr/>
        </p:nvPicPr>
        <p:blipFill>
          <a:blip r:embed="rId4" cstate="print">
            <a:duotone>
              <a:prstClr val="black"/>
              <a:srgbClr val="59AF31">
                <a:tint val="45000"/>
                <a:satMod val="400000"/>
              </a:srgbClr>
            </a:duotone>
            <a:extLst>
              <a:ext uri="{28A0092B-C50C-407E-A947-70E740481C1C}">
                <a14:useLocalDpi xmlns:a14="http://schemas.microsoft.com/office/drawing/2010/main" val="0"/>
              </a:ext>
            </a:extLst>
          </a:blip>
          <a:stretch>
            <a:fillRect/>
          </a:stretch>
        </p:blipFill>
        <p:spPr>
          <a:xfrm>
            <a:off x="297713" y="251550"/>
            <a:ext cx="2880000" cy="90024"/>
          </a:xfrm>
          <a:prstGeom prst="rect">
            <a:avLst/>
          </a:prstGeom>
        </p:spPr>
      </p:pic>
    </p:spTree>
    <p:extLst>
      <p:ext uri="{BB962C8B-B14F-4D97-AF65-F5344CB8AC3E}">
        <p14:creationId xmlns:p14="http://schemas.microsoft.com/office/powerpoint/2010/main" val="579011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4DED1B-A1E3-40EF-C560-A81ECBBA424C}"/>
            </a:ext>
          </a:extLst>
        </p:cNvPr>
        <p:cNvGrpSpPr/>
        <p:nvPr/>
      </p:nvGrpSpPr>
      <p:grpSpPr>
        <a:xfrm>
          <a:off x="0" y="0"/>
          <a:ext cx="0" cy="0"/>
          <a:chOff x="0" y="0"/>
          <a:chExt cx="0" cy="0"/>
        </a:xfrm>
      </p:grpSpPr>
      <p:pic>
        <p:nvPicPr>
          <p:cNvPr id="4" name="Imagen 3" descr="Imagen que contiene objeto, reloj, dibujo&#10;&#10;Descripción generada automáticamente">
            <a:extLst>
              <a:ext uri="{FF2B5EF4-FFF2-40B4-BE49-F238E27FC236}">
                <a16:creationId xmlns:a16="http://schemas.microsoft.com/office/drawing/2014/main" id="{D6F0BACF-4D0A-BB48-078F-336E773E8C80}"/>
              </a:ext>
            </a:extLst>
          </p:cNvPr>
          <p:cNvPicPr>
            <a:picLocks noChangeAspect="1"/>
          </p:cNvPicPr>
          <p:nvPr/>
        </p:nvPicPr>
        <p:blipFill>
          <a:blip r:embed="rId2"/>
          <a:stretch>
            <a:fillRect/>
          </a:stretch>
        </p:blipFill>
        <p:spPr>
          <a:xfrm>
            <a:off x="9646323" y="57473"/>
            <a:ext cx="2545677" cy="612000"/>
          </a:xfrm>
          <a:prstGeom prst="rect">
            <a:avLst/>
          </a:prstGeom>
        </p:spPr>
      </p:pic>
      <p:pic>
        <p:nvPicPr>
          <p:cNvPr id="13" name="Picture 11">
            <a:extLst>
              <a:ext uri="{FF2B5EF4-FFF2-40B4-BE49-F238E27FC236}">
                <a16:creationId xmlns:a16="http://schemas.microsoft.com/office/drawing/2014/main" id="{322D290E-DB14-5080-DF85-EAA9A02F6F03}"/>
              </a:ext>
            </a:extLst>
          </p:cNvPr>
          <p:cNvPicPr>
            <a:picLocks noChangeAspect="1"/>
          </p:cNvPicPr>
          <p:nvPr/>
        </p:nvPicPr>
        <p:blipFill>
          <a:blip r:embed="rId3" cstate="print">
            <a:duotone>
              <a:prstClr val="black"/>
              <a:srgbClr val="59AF31">
                <a:tint val="45000"/>
                <a:satMod val="400000"/>
              </a:srgbClr>
            </a:duotone>
            <a:extLst>
              <a:ext uri="{28A0092B-C50C-407E-A947-70E740481C1C}">
                <a14:useLocalDpi xmlns:a14="http://schemas.microsoft.com/office/drawing/2010/main" val="0"/>
              </a:ext>
            </a:extLst>
          </a:blip>
          <a:stretch>
            <a:fillRect/>
          </a:stretch>
        </p:blipFill>
        <p:spPr>
          <a:xfrm>
            <a:off x="297713" y="251550"/>
            <a:ext cx="2880000" cy="90024"/>
          </a:xfrm>
          <a:prstGeom prst="rect">
            <a:avLst/>
          </a:prstGeom>
        </p:spPr>
      </p:pic>
      <p:sp>
        <p:nvSpPr>
          <p:cNvPr id="7" name="CuadroTexto 6">
            <a:extLst>
              <a:ext uri="{FF2B5EF4-FFF2-40B4-BE49-F238E27FC236}">
                <a16:creationId xmlns:a16="http://schemas.microsoft.com/office/drawing/2014/main" id="{AC1FEF01-79E1-7687-4287-DCBCF2828D3B}"/>
              </a:ext>
            </a:extLst>
          </p:cNvPr>
          <p:cNvSpPr txBox="1"/>
          <p:nvPr/>
        </p:nvSpPr>
        <p:spPr>
          <a:xfrm>
            <a:off x="1880333" y="1953309"/>
            <a:ext cx="1553227" cy="739036"/>
          </a:xfrm>
          <a:prstGeom prst="rect">
            <a:avLst/>
          </a:prstGeom>
          <a:noFill/>
          <a:ln>
            <a:noFill/>
          </a:ln>
        </p:spPr>
        <p:txBody>
          <a:bodyPr wrap="square" lIns="0" tIns="0" rIns="0" bIns="0" rtlCol="0">
            <a:noAutofit/>
          </a:bodyPr>
          <a:lstStyle/>
          <a:p>
            <a:r>
              <a:rPr lang="es-ES" sz="2400" b="1" dirty="0">
                <a:solidFill>
                  <a:srgbClr val="CCE6F6"/>
                </a:solidFill>
                <a:latin typeface="Source Sans Pro"/>
              </a:rPr>
              <a:t>LEGAL CERTA</a:t>
            </a:r>
            <a:endParaRPr lang="es-MX" sz="2400" b="1" dirty="0">
              <a:solidFill>
                <a:srgbClr val="CCE6F6"/>
              </a:solidFill>
              <a:latin typeface="Source Sans Pro"/>
            </a:endParaRPr>
          </a:p>
        </p:txBody>
      </p:sp>
      <p:sp>
        <p:nvSpPr>
          <p:cNvPr id="14" name="Freihandform: Form 693">
            <a:extLst>
              <a:ext uri="{FF2B5EF4-FFF2-40B4-BE49-F238E27FC236}">
                <a16:creationId xmlns:a16="http://schemas.microsoft.com/office/drawing/2014/main" id="{1C67C830-203B-A0ED-1657-411C125F8FB4}"/>
              </a:ext>
            </a:extLst>
          </p:cNvPr>
          <p:cNvSpPr/>
          <p:nvPr/>
        </p:nvSpPr>
        <p:spPr>
          <a:xfrm>
            <a:off x="8947821" y="3876049"/>
            <a:ext cx="1302706" cy="956151"/>
          </a:xfrm>
          <a:custGeom>
            <a:avLst/>
            <a:gdLst>
              <a:gd name="connsiteX0" fmla="*/ 18527 w 533489"/>
              <a:gd name="connsiteY0" fmla="*/ 340037 h 389472"/>
              <a:gd name="connsiteX1" fmla="*/ 22084 w 533489"/>
              <a:gd name="connsiteY1" fmla="*/ 356720 h 389472"/>
              <a:gd name="connsiteX2" fmla="*/ 210135 w 533489"/>
              <a:gd name="connsiteY2" fmla="*/ 356720 h 389472"/>
              <a:gd name="connsiteX3" fmla="*/ 211975 w 533489"/>
              <a:gd name="connsiteY3" fmla="*/ 340037 h 389472"/>
              <a:gd name="connsiteX4" fmla="*/ 110284 w 533489"/>
              <a:gd name="connsiteY4" fmla="*/ 256254 h 389472"/>
              <a:gd name="connsiteX5" fmla="*/ 118748 w 533489"/>
              <a:gd name="connsiteY5" fmla="*/ 258339 h 389472"/>
              <a:gd name="connsiteX6" fmla="*/ 137639 w 533489"/>
              <a:gd name="connsiteY6" fmla="*/ 275022 h 389472"/>
              <a:gd name="connsiteX7" fmla="*/ 156529 w 533489"/>
              <a:gd name="connsiteY7" fmla="*/ 258339 h 389472"/>
              <a:gd name="connsiteX8" fmla="*/ 164993 w 533489"/>
              <a:gd name="connsiteY8" fmla="*/ 256254 h 389472"/>
              <a:gd name="connsiteX9" fmla="*/ 214429 w 533489"/>
              <a:gd name="connsiteY9" fmla="*/ 311823 h 389472"/>
              <a:gd name="connsiteX10" fmla="*/ 195906 w 533489"/>
              <a:gd name="connsiteY10" fmla="*/ 311823 h 389472"/>
              <a:gd name="connsiteX11" fmla="*/ 164993 w 533489"/>
              <a:gd name="connsiteY11" fmla="*/ 275513 h 389472"/>
              <a:gd name="connsiteX12" fmla="*/ 143895 w 533489"/>
              <a:gd name="connsiteY12" fmla="*/ 294281 h 389472"/>
              <a:gd name="connsiteX13" fmla="*/ 131628 w 533489"/>
              <a:gd name="connsiteY13" fmla="*/ 294281 h 389472"/>
              <a:gd name="connsiteX14" fmla="*/ 110406 w 533489"/>
              <a:gd name="connsiteY14" fmla="*/ 275513 h 389472"/>
              <a:gd name="connsiteX15" fmla="*/ 79494 w 533489"/>
              <a:gd name="connsiteY15" fmla="*/ 311823 h 389472"/>
              <a:gd name="connsiteX16" fmla="*/ 60971 w 533489"/>
              <a:gd name="connsiteY16" fmla="*/ 311823 h 389472"/>
              <a:gd name="connsiteX17" fmla="*/ 110284 w 533489"/>
              <a:gd name="connsiteY17" fmla="*/ 256254 h 389472"/>
              <a:gd name="connsiteX18" fmla="*/ 137639 w 533489"/>
              <a:gd name="connsiteY18" fmla="*/ 175661 h 389472"/>
              <a:gd name="connsiteX19" fmla="*/ 106726 w 533489"/>
              <a:gd name="connsiteY19" fmla="*/ 206573 h 389472"/>
              <a:gd name="connsiteX20" fmla="*/ 137639 w 533489"/>
              <a:gd name="connsiteY20" fmla="*/ 237486 h 389472"/>
              <a:gd name="connsiteX21" fmla="*/ 168551 w 533489"/>
              <a:gd name="connsiteY21" fmla="*/ 206573 h 389472"/>
              <a:gd name="connsiteX22" fmla="*/ 137639 w 533489"/>
              <a:gd name="connsiteY22" fmla="*/ 175661 h 389472"/>
              <a:gd name="connsiteX23" fmla="*/ 137761 w 533489"/>
              <a:gd name="connsiteY23" fmla="*/ 157261 h 389472"/>
              <a:gd name="connsiteX24" fmla="*/ 187073 w 533489"/>
              <a:gd name="connsiteY24" fmla="*/ 206574 h 389472"/>
              <a:gd name="connsiteX25" fmla="*/ 137761 w 533489"/>
              <a:gd name="connsiteY25" fmla="*/ 255886 h 389472"/>
              <a:gd name="connsiteX26" fmla="*/ 88325 w 533489"/>
              <a:gd name="connsiteY26" fmla="*/ 206574 h 389472"/>
              <a:gd name="connsiteX27" fmla="*/ 137761 w 533489"/>
              <a:gd name="connsiteY27" fmla="*/ 157261 h 389472"/>
              <a:gd name="connsiteX28" fmla="*/ 39626 w 533489"/>
              <a:gd name="connsiteY28" fmla="*/ 134322 h 389472"/>
              <a:gd name="connsiteX29" fmla="*/ 223015 w 533489"/>
              <a:gd name="connsiteY29" fmla="*/ 134322 h 389472"/>
              <a:gd name="connsiteX30" fmla="*/ 223015 w 533489"/>
              <a:gd name="connsiteY30" fmla="*/ 152845 h 389472"/>
              <a:gd name="connsiteX31" fmla="*/ 42693 w 533489"/>
              <a:gd name="connsiteY31" fmla="*/ 152845 h 389472"/>
              <a:gd name="connsiteX32" fmla="*/ 42693 w 533489"/>
              <a:gd name="connsiteY32" fmla="*/ 321514 h 389472"/>
              <a:gd name="connsiteX33" fmla="*/ 217250 w 533489"/>
              <a:gd name="connsiteY33" fmla="*/ 321514 h 389472"/>
              <a:gd name="connsiteX34" fmla="*/ 371689 w 533489"/>
              <a:gd name="connsiteY34" fmla="*/ 239081 h 389472"/>
              <a:gd name="connsiteX35" fmla="*/ 533489 w 533489"/>
              <a:gd name="connsiteY35" fmla="*/ 360277 h 389472"/>
              <a:gd name="connsiteX36" fmla="*/ 533489 w 533489"/>
              <a:gd name="connsiteY36" fmla="*/ 389472 h 389472"/>
              <a:gd name="connsiteX37" fmla="*/ 514966 w 533489"/>
              <a:gd name="connsiteY37" fmla="*/ 389472 h 389472"/>
              <a:gd name="connsiteX38" fmla="*/ 514966 w 533489"/>
              <a:gd name="connsiteY38" fmla="*/ 360277 h 389472"/>
              <a:gd name="connsiteX39" fmla="*/ 371812 w 533489"/>
              <a:gd name="connsiteY39" fmla="*/ 257358 h 389472"/>
              <a:gd name="connsiteX40" fmla="*/ 228658 w 533489"/>
              <a:gd name="connsiteY40" fmla="*/ 360277 h 389472"/>
              <a:gd name="connsiteX41" fmla="*/ 228658 w 533489"/>
              <a:gd name="connsiteY41" fmla="*/ 389472 h 389472"/>
              <a:gd name="connsiteX42" fmla="*/ 210135 w 533489"/>
              <a:gd name="connsiteY42" fmla="*/ 389472 h 389472"/>
              <a:gd name="connsiteX43" fmla="*/ 210135 w 533489"/>
              <a:gd name="connsiteY43" fmla="*/ 374997 h 389472"/>
              <a:gd name="connsiteX44" fmla="*/ 15829 w 533489"/>
              <a:gd name="connsiteY44" fmla="*/ 374997 h 389472"/>
              <a:gd name="connsiteX45" fmla="*/ 7242 w 533489"/>
              <a:gd name="connsiteY45" fmla="*/ 369232 h 389472"/>
              <a:gd name="connsiteX46" fmla="*/ 127 w 533489"/>
              <a:gd name="connsiteY46" fmla="*/ 330223 h 389472"/>
              <a:gd name="connsiteX47" fmla="*/ 9327 w 533489"/>
              <a:gd name="connsiteY47" fmla="*/ 321391 h 389472"/>
              <a:gd name="connsiteX48" fmla="*/ 24293 w 533489"/>
              <a:gd name="connsiteY48" fmla="*/ 321391 h 389472"/>
              <a:gd name="connsiteX49" fmla="*/ 24293 w 533489"/>
              <a:gd name="connsiteY49" fmla="*/ 149656 h 389472"/>
              <a:gd name="connsiteX50" fmla="*/ 39626 w 533489"/>
              <a:gd name="connsiteY50" fmla="*/ 134322 h 389472"/>
              <a:gd name="connsiteX51" fmla="*/ 481723 w 533489"/>
              <a:gd name="connsiteY51" fmla="*/ 100711 h 389472"/>
              <a:gd name="connsiteX52" fmla="*/ 472523 w 533489"/>
              <a:gd name="connsiteY52" fmla="*/ 109911 h 389472"/>
              <a:gd name="connsiteX53" fmla="*/ 472523 w 533489"/>
              <a:gd name="connsiteY53" fmla="*/ 155421 h 389472"/>
              <a:gd name="connsiteX54" fmla="*/ 481723 w 533489"/>
              <a:gd name="connsiteY54" fmla="*/ 164621 h 389472"/>
              <a:gd name="connsiteX55" fmla="*/ 490923 w 533489"/>
              <a:gd name="connsiteY55" fmla="*/ 155421 h 389472"/>
              <a:gd name="connsiteX56" fmla="*/ 490923 w 533489"/>
              <a:gd name="connsiteY56" fmla="*/ 109911 h 389472"/>
              <a:gd name="connsiteX57" fmla="*/ 481723 w 533489"/>
              <a:gd name="connsiteY57" fmla="*/ 100711 h 389472"/>
              <a:gd name="connsiteX58" fmla="*/ 261901 w 533489"/>
              <a:gd name="connsiteY58" fmla="*/ 100711 h 389472"/>
              <a:gd name="connsiteX59" fmla="*/ 252701 w 533489"/>
              <a:gd name="connsiteY59" fmla="*/ 109911 h 389472"/>
              <a:gd name="connsiteX60" fmla="*/ 252701 w 533489"/>
              <a:gd name="connsiteY60" fmla="*/ 155421 h 389472"/>
              <a:gd name="connsiteX61" fmla="*/ 261901 w 533489"/>
              <a:gd name="connsiteY61" fmla="*/ 164621 h 389472"/>
              <a:gd name="connsiteX62" fmla="*/ 271101 w 533489"/>
              <a:gd name="connsiteY62" fmla="*/ 155421 h 389472"/>
              <a:gd name="connsiteX63" fmla="*/ 271101 w 533489"/>
              <a:gd name="connsiteY63" fmla="*/ 109911 h 389472"/>
              <a:gd name="connsiteX64" fmla="*/ 261901 w 533489"/>
              <a:gd name="connsiteY64" fmla="*/ 100711 h 389472"/>
              <a:gd name="connsiteX65" fmla="*/ 371689 w 533489"/>
              <a:gd name="connsiteY65" fmla="*/ 52625 h 389472"/>
              <a:gd name="connsiteX66" fmla="*/ 294040 w 533489"/>
              <a:gd name="connsiteY66" fmla="*/ 130274 h 389472"/>
              <a:gd name="connsiteX67" fmla="*/ 371689 w 533489"/>
              <a:gd name="connsiteY67" fmla="*/ 207923 h 389472"/>
              <a:gd name="connsiteX68" fmla="*/ 449461 w 533489"/>
              <a:gd name="connsiteY68" fmla="*/ 130274 h 389472"/>
              <a:gd name="connsiteX69" fmla="*/ 371689 w 533489"/>
              <a:gd name="connsiteY69" fmla="*/ 52625 h 389472"/>
              <a:gd name="connsiteX70" fmla="*/ 371076 w 533489"/>
              <a:gd name="connsiteY70" fmla="*/ 18523 h 389472"/>
              <a:gd name="connsiteX71" fmla="*/ 270979 w 533489"/>
              <a:gd name="connsiteY71" fmla="*/ 83905 h 389472"/>
              <a:gd name="connsiteX72" fmla="*/ 283368 w 533489"/>
              <a:gd name="connsiteY72" fmla="*/ 92492 h 389472"/>
              <a:gd name="connsiteX73" fmla="*/ 371812 w 533489"/>
              <a:gd name="connsiteY73" fmla="*/ 34102 h 389472"/>
              <a:gd name="connsiteX74" fmla="*/ 460256 w 533489"/>
              <a:gd name="connsiteY74" fmla="*/ 92492 h 389472"/>
              <a:gd name="connsiteX75" fmla="*/ 472400 w 533489"/>
              <a:gd name="connsiteY75" fmla="*/ 83905 h 389472"/>
              <a:gd name="connsiteX76" fmla="*/ 371076 w 533489"/>
              <a:gd name="connsiteY76" fmla="*/ 18523 h 389472"/>
              <a:gd name="connsiteX77" fmla="*/ 371075 w 533489"/>
              <a:gd name="connsiteY77" fmla="*/ 0 h 389472"/>
              <a:gd name="connsiteX78" fmla="*/ 492640 w 533489"/>
              <a:gd name="connsiteY78" fmla="*/ 84518 h 389472"/>
              <a:gd name="connsiteX79" fmla="*/ 509323 w 533489"/>
              <a:gd name="connsiteY79" fmla="*/ 109911 h 389472"/>
              <a:gd name="connsiteX80" fmla="*/ 509323 w 533489"/>
              <a:gd name="connsiteY80" fmla="*/ 155421 h 389472"/>
              <a:gd name="connsiteX81" fmla="*/ 481600 w 533489"/>
              <a:gd name="connsiteY81" fmla="*/ 183144 h 389472"/>
              <a:gd name="connsiteX82" fmla="*/ 458783 w 533489"/>
              <a:gd name="connsiteY82" fmla="*/ 171000 h 389472"/>
              <a:gd name="connsiteX83" fmla="*/ 371689 w 533489"/>
              <a:gd name="connsiteY83" fmla="*/ 226200 h 389472"/>
              <a:gd name="connsiteX84" fmla="*/ 284717 w 533489"/>
              <a:gd name="connsiteY84" fmla="*/ 171000 h 389472"/>
              <a:gd name="connsiteX85" fmla="*/ 261901 w 533489"/>
              <a:gd name="connsiteY85" fmla="*/ 183144 h 389472"/>
              <a:gd name="connsiteX86" fmla="*/ 234178 w 533489"/>
              <a:gd name="connsiteY86" fmla="*/ 155421 h 389472"/>
              <a:gd name="connsiteX87" fmla="*/ 234178 w 533489"/>
              <a:gd name="connsiteY87" fmla="*/ 109911 h 389472"/>
              <a:gd name="connsiteX88" fmla="*/ 250615 w 533489"/>
              <a:gd name="connsiteY88" fmla="*/ 84641 h 389472"/>
              <a:gd name="connsiteX89" fmla="*/ 371075 w 533489"/>
              <a:gd name="connsiteY89" fmla="*/ 0 h 389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33489" h="389472">
                <a:moveTo>
                  <a:pt x="18527" y="340037"/>
                </a:moveTo>
                <a:cubicBezTo>
                  <a:pt x="18895" y="345680"/>
                  <a:pt x="19876" y="350464"/>
                  <a:pt x="22084" y="356720"/>
                </a:cubicBezTo>
                <a:lnTo>
                  <a:pt x="210135" y="356720"/>
                </a:lnTo>
                <a:cubicBezTo>
                  <a:pt x="210380" y="350955"/>
                  <a:pt x="210993" y="345434"/>
                  <a:pt x="211975" y="340037"/>
                </a:cubicBezTo>
                <a:close/>
                <a:moveTo>
                  <a:pt x="110284" y="256254"/>
                </a:moveTo>
                <a:cubicBezTo>
                  <a:pt x="113351" y="255518"/>
                  <a:pt x="116417" y="256254"/>
                  <a:pt x="118748" y="258339"/>
                </a:cubicBezTo>
                <a:lnTo>
                  <a:pt x="137639" y="275022"/>
                </a:lnTo>
                <a:lnTo>
                  <a:pt x="156529" y="258339"/>
                </a:lnTo>
                <a:cubicBezTo>
                  <a:pt x="158860" y="256254"/>
                  <a:pt x="162050" y="255518"/>
                  <a:pt x="164993" y="256254"/>
                </a:cubicBezTo>
                <a:cubicBezTo>
                  <a:pt x="195906" y="264105"/>
                  <a:pt x="214429" y="284958"/>
                  <a:pt x="214429" y="311823"/>
                </a:cubicBezTo>
                <a:lnTo>
                  <a:pt x="195906" y="311823"/>
                </a:lnTo>
                <a:cubicBezTo>
                  <a:pt x="195906" y="289252"/>
                  <a:pt x="176893" y="279438"/>
                  <a:pt x="164993" y="275513"/>
                </a:cubicBezTo>
                <a:lnTo>
                  <a:pt x="143895" y="294281"/>
                </a:lnTo>
                <a:cubicBezTo>
                  <a:pt x="140338" y="297348"/>
                  <a:pt x="135063" y="297348"/>
                  <a:pt x="131628" y="294281"/>
                </a:cubicBezTo>
                <a:lnTo>
                  <a:pt x="110406" y="275513"/>
                </a:lnTo>
                <a:cubicBezTo>
                  <a:pt x="98508" y="279438"/>
                  <a:pt x="79494" y="289252"/>
                  <a:pt x="79494" y="311823"/>
                </a:cubicBezTo>
                <a:lnTo>
                  <a:pt x="60971" y="311823"/>
                </a:lnTo>
                <a:cubicBezTo>
                  <a:pt x="60971" y="284958"/>
                  <a:pt x="79494" y="264105"/>
                  <a:pt x="110284" y="256254"/>
                </a:cubicBezTo>
                <a:close/>
                <a:moveTo>
                  <a:pt x="137639" y="175661"/>
                </a:moveTo>
                <a:cubicBezTo>
                  <a:pt x="120588" y="175661"/>
                  <a:pt x="106726" y="189522"/>
                  <a:pt x="106726" y="206573"/>
                </a:cubicBezTo>
                <a:cubicBezTo>
                  <a:pt x="106726" y="223624"/>
                  <a:pt x="120588" y="237486"/>
                  <a:pt x="137639" y="237486"/>
                </a:cubicBezTo>
                <a:cubicBezTo>
                  <a:pt x="154689" y="237486"/>
                  <a:pt x="168551" y="223624"/>
                  <a:pt x="168551" y="206573"/>
                </a:cubicBezTo>
                <a:cubicBezTo>
                  <a:pt x="168551" y="189522"/>
                  <a:pt x="154689" y="175661"/>
                  <a:pt x="137639" y="175661"/>
                </a:cubicBezTo>
                <a:close/>
                <a:moveTo>
                  <a:pt x="137761" y="157261"/>
                </a:moveTo>
                <a:cubicBezTo>
                  <a:pt x="164870" y="157261"/>
                  <a:pt x="187073" y="179341"/>
                  <a:pt x="187073" y="206574"/>
                </a:cubicBezTo>
                <a:cubicBezTo>
                  <a:pt x="187073" y="233806"/>
                  <a:pt x="164993" y="255886"/>
                  <a:pt x="137761" y="255886"/>
                </a:cubicBezTo>
                <a:cubicBezTo>
                  <a:pt x="110528" y="255886"/>
                  <a:pt x="88325" y="233806"/>
                  <a:pt x="88325" y="206574"/>
                </a:cubicBezTo>
                <a:cubicBezTo>
                  <a:pt x="88325" y="179464"/>
                  <a:pt x="110651" y="157261"/>
                  <a:pt x="137761" y="157261"/>
                </a:cubicBezTo>
                <a:close/>
                <a:moveTo>
                  <a:pt x="39626" y="134322"/>
                </a:moveTo>
                <a:lnTo>
                  <a:pt x="223015" y="134322"/>
                </a:lnTo>
                <a:lnTo>
                  <a:pt x="223015" y="152845"/>
                </a:lnTo>
                <a:lnTo>
                  <a:pt x="42693" y="152845"/>
                </a:lnTo>
                <a:lnTo>
                  <a:pt x="42693" y="321514"/>
                </a:lnTo>
                <a:lnTo>
                  <a:pt x="217250" y="321514"/>
                </a:lnTo>
                <a:cubicBezTo>
                  <a:pt x="236877" y="271588"/>
                  <a:pt x="295021" y="239081"/>
                  <a:pt x="371689" y="239081"/>
                </a:cubicBezTo>
                <a:cubicBezTo>
                  <a:pt x="466880" y="239081"/>
                  <a:pt x="533366" y="289007"/>
                  <a:pt x="533489" y="360277"/>
                </a:cubicBezTo>
                <a:lnTo>
                  <a:pt x="533489" y="389472"/>
                </a:lnTo>
                <a:lnTo>
                  <a:pt x="514966" y="389472"/>
                </a:lnTo>
                <a:lnTo>
                  <a:pt x="514966" y="360277"/>
                </a:lnTo>
                <a:cubicBezTo>
                  <a:pt x="514966" y="289129"/>
                  <a:pt x="443082" y="257358"/>
                  <a:pt x="371812" y="257358"/>
                </a:cubicBezTo>
                <a:cubicBezTo>
                  <a:pt x="300541" y="257358"/>
                  <a:pt x="228658" y="289129"/>
                  <a:pt x="228658" y="360277"/>
                </a:cubicBezTo>
                <a:lnTo>
                  <a:pt x="228658" y="389472"/>
                </a:lnTo>
                <a:lnTo>
                  <a:pt x="210135" y="389472"/>
                </a:lnTo>
                <a:lnTo>
                  <a:pt x="210135" y="374997"/>
                </a:lnTo>
                <a:lnTo>
                  <a:pt x="15829" y="374997"/>
                </a:lnTo>
                <a:cubicBezTo>
                  <a:pt x="12026" y="374997"/>
                  <a:pt x="8591" y="372667"/>
                  <a:pt x="7242" y="369232"/>
                </a:cubicBezTo>
                <a:cubicBezTo>
                  <a:pt x="986" y="353653"/>
                  <a:pt x="-487" y="345311"/>
                  <a:pt x="127" y="330223"/>
                </a:cubicBezTo>
                <a:cubicBezTo>
                  <a:pt x="250" y="325317"/>
                  <a:pt x="4420" y="321391"/>
                  <a:pt x="9327" y="321391"/>
                </a:cubicBezTo>
                <a:lnTo>
                  <a:pt x="24293" y="321391"/>
                </a:lnTo>
                <a:lnTo>
                  <a:pt x="24293" y="149656"/>
                </a:lnTo>
                <a:cubicBezTo>
                  <a:pt x="24293" y="141192"/>
                  <a:pt x="31162" y="134322"/>
                  <a:pt x="39626" y="134322"/>
                </a:cubicBezTo>
                <a:close/>
                <a:moveTo>
                  <a:pt x="481723" y="100711"/>
                </a:moveTo>
                <a:cubicBezTo>
                  <a:pt x="476694" y="100711"/>
                  <a:pt x="472523" y="104759"/>
                  <a:pt x="472523" y="109911"/>
                </a:cubicBezTo>
                <a:lnTo>
                  <a:pt x="472523" y="155421"/>
                </a:lnTo>
                <a:cubicBezTo>
                  <a:pt x="472523" y="160450"/>
                  <a:pt x="476571" y="164621"/>
                  <a:pt x="481723" y="164621"/>
                </a:cubicBezTo>
                <a:cubicBezTo>
                  <a:pt x="486753" y="164621"/>
                  <a:pt x="490923" y="160450"/>
                  <a:pt x="490923" y="155421"/>
                </a:cubicBezTo>
                <a:lnTo>
                  <a:pt x="490923" y="109911"/>
                </a:lnTo>
                <a:cubicBezTo>
                  <a:pt x="490923" y="104882"/>
                  <a:pt x="486753" y="100711"/>
                  <a:pt x="481723" y="100711"/>
                </a:cubicBezTo>
                <a:close/>
                <a:moveTo>
                  <a:pt x="261901" y="100711"/>
                </a:moveTo>
                <a:cubicBezTo>
                  <a:pt x="256872" y="100711"/>
                  <a:pt x="252701" y="104759"/>
                  <a:pt x="252701" y="109911"/>
                </a:cubicBezTo>
                <a:lnTo>
                  <a:pt x="252701" y="155421"/>
                </a:lnTo>
                <a:cubicBezTo>
                  <a:pt x="252701" y="160450"/>
                  <a:pt x="256872" y="164621"/>
                  <a:pt x="261901" y="164621"/>
                </a:cubicBezTo>
                <a:cubicBezTo>
                  <a:pt x="266931" y="164621"/>
                  <a:pt x="271101" y="160450"/>
                  <a:pt x="271101" y="155421"/>
                </a:cubicBezTo>
                <a:lnTo>
                  <a:pt x="271101" y="109911"/>
                </a:lnTo>
                <a:cubicBezTo>
                  <a:pt x="271101" y="104882"/>
                  <a:pt x="266931" y="100711"/>
                  <a:pt x="261901" y="100711"/>
                </a:cubicBezTo>
                <a:close/>
                <a:moveTo>
                  <a:pt x="371689" y="52625"/>
                </a:moveTo>
                <a:cubicBezTo>
                  <a:pt x="328878" y="52625"/>
                  <a:pt x="294040" y="87463"/>
                  <a:pt x="294040" y="130274"/>
                </a:cubicBezTo>
                <a:cubicBezTo>
                  <a:pt x="294040" y="173085"/>
                  <a:pt x="328878" y="207923"/>
                  <a:pt x="371689" y="207923"/>
                </a:cubicBezTo>
                <a:cubicBezTo>
                  <a:pt x="414623" y="207923"/>
                  <a:pt x="449461" y="172963"/>
                  <a:pt x="449461" y="130274"/>
                </a:cubicBezTo>
                <a:cubicBezTo>
                  <a:pt x="449461" y="87463"/>
                  <a:pt x="414500" y="52625"/>
                  <a:pt x="371689" y="52625"/>
                </a:cubicBezTo>
                <a:close/>
                <a:moveTo>
                  <a:pt x="371076" y="18523"/>
                </a:moveTo>
                <a:cubicBezTo>
                  <a:pt x="326915" y="18523"/>
                  <a:pt x="288766" y="43793"/>
                  <a:pt x="270979" y="83905"/>
                </a:cubicBezTo>
                <a:cubicBezTo>
                  <a:pt x="275886" y="85500"/>
                  <a:pt x="280179" y="88567"/>
                  <a:pt x="283368" y="92492"/>
                </a:cubicBezTo>
                <a:cubicBezTo>
                  <a:pt x="298088" y="58267"/>
                  <a:pt x="332190" y="34102"/>
                  <a:pt x="371812" y="34102"/>
                </a:cubicBezTo>
                <a:cubicBezTo>
                  <a:pt x="411434" y="34102"/>
                  <a:pt x="445536" y="58145"/>
                  <a:pt x="460256" y="92492"/>
                </a:cubicBezTo>
                <a:cubicBezTo>
                  <a:pt x="463445" y="88567"/>
                  <a:pt x="467616" y="85622"/>
                  <a:pt x="472400" y="83905"/>
                </a:cubicBezTo>
                <a:cubicBezTo>
                  <a:pt x="454123" y="43793"/>
                  <a:pt x="415605" y="18523"/>
                  <a:pt x="371076" y="18523"/>
                </a:cubicBezTo>
                <a:close/>
                <a:moveTo>
                  <a:pt x="371075" y="0"/>
                </a:moveTo>
                <a:cubicBezTo>
                  <a:pt x="426031" y="0"/>
                  <a:pt x="473136" y="32998"/>
                  <a:pt x="492640" y="84518"/>
                </a:cubicBezTo>
                <a:cubicBezTo>
                  <a:pt x="502453" y="88689"/>
                  <a:pt x="509323" y="98503"/>
                  <a:pt x="509323" y="109911"/>
                </a:cubicBezTo>
                <a:lnTo>
                  <a:pt x="509323" y="155421"/>
                </a:lnTo>
                <a:cubicBezTo>
                  <a:pt x="509323" y="170754"/>
                  <a:pt x="496810" y="183144"/>
                  <a:pt x="481600" y="183144"/>
                </a:cubicBezTo>
                <a:cubicBezTo>
                  <a:pt x="472154" y="183144"/>
                  <a:pt x="463813" y="178237"/>
                  <a:pt x="458783" y="171000"/>
                </a:cubicBezTo>
                <a:cubicBezTo>
                  <a:pt x="443327" y="203629"/>
                  <a:pt x="410084" y="226200"/>
                  <a:pt x="371689" y="226200"/>
                </a:cubicBezTo>
                <a:cubicBezTo>
                  <a:pt x="333294" y="226200"/>
                  <a:pt x="300173" y="203629"/>
                  <a:pt x="284717" y="171000"/>
                </a:cubicBezTo>
                <a:cubicBezTo>
                  <a:pt x="279810" y="178360"/>
                  <a:pt x="271346" y="183144"/>
                  <a:pt x="261901" y="183144"/>
                </a:cubicBezTo>
                <a:cubicBezTo>
                  <a:pt x="246567" y="183144"/>
                  <a:pt x="234178" y="170754"/>
                  <a:pt x="234178" y="155421"/>
                </a:cubicBezTo>
                <a:lnTo>
                  <a:pt x="234178" y="109911"/>
                </a:lnTo>
                <a:cubicBezTo>
                  <a:pt x="234178" y="98625"/>
                  <a:pt x="240925" y="88935"/>
                  <a:pt x="250615" y="84641"/>
                </a:cubicBezTo>
                <a:cubicBezTo>
                  <a:pt x="269752" y="33120"/>
                  <a:pt x="316488" y="0"/>
                  <a:pt x="371075" y="0"/>
                </a:cubicBezTo>
                <a:close/>
              </a:path>
            </a:pathLst>
          </a:custGeom>
          <a:gradFill rotWithShape="1">
            <a:gsLst>
              <a:gs pos="0">
                <a:srgbClr val="0082D2">
                  <a:satMod val="103000"/>
                  <a:lumMod val="102000"/>
                  <a:tint val="94000"/>
                </a:srgbClr>
              </a:gs>
              <a:gs pos="50000">
                <a:srgbClr val="0082D2">
                  <a:satMod val="110000"/>
                  <a:lumMod val="100000"/>
                  <a:shade val="100000"/>
                </a:srgbClr>
              </a:gs>
              <a:gs pos="100000">
                <a:srgbClr val="0082D2">
                  <a:lumMod val="99000"/>
                  <a:satMod val="120000"/>
                  <a:shade val="78000"/>
                </a:srgbClr>
              </a:gs>
            </a:gsLst>
            <a:lin ang="5400000" scaled="0"/>
          </a:gradFill>
          <a:ln w="6350" cap="flat" cmpd="sng" algn="ctr">
            <a:solidFill>
              <a:srgbClr val="0082D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dirty="0">
              <a:ln w="22225">
                <a:solidFill>
                  <a:srgbClr val="05BCFF"/>
                </a:solidFill>
                <a:prstDash val="solid"/>
              </a:ln>
              <a:solidFill>
                <a:srgbClr val="05BCFF">
                  <a:lumMod val="40000"/>
                  <a:lumOff val="60000"/>
                </a:srgbClr>
              </a:solidFill>
              <a:effectLst/>
              <a:uLnTx/>
              <a:uFillTx/>
              <a:latin typeface="Source Sans Pro"/>
              <a:ea typeface="+mn-ea"/>
              <a:cs typeface="+mn-cs"/>
            </a:endParaRPr>
          </a:p>
        </p:txBody>
      </p:sp>
      <p:sp>
        <p:nvSpPr>
          <p:cNvPr id="15" name="Freihandform: Form 704">
            <a:extLst>
              <a:ext uri="{FF2B5EF4-FFF2-40B4-BE49-F238E27FC236}">
                <a16:creationId xmlns:a16="http://schemas.microsoft.com/office/drawing/2014/main" id="{90DE4067-2608-F11E-52A0-ED4B83D38455}"/>
              </a:ext>
            </a:extLst>
          </p:cNvPr>
          <p:cNvSpPr/>
          <p:nvPr/>
        </p:nvSpPr>
        <p:spPr>
          <a:xfrm>
            <a:off x="1510937" y="4038334"/>
            <a:ext cx="955041" cy="956151"/>
          </a:xfrm>
          <a:custGeom>
            <a:avLst/>
            <a:gdLst>
              <a:gd name="connsiteX0" fmla="*/ 337828 w 380152"/>
              <a:gd name="connsiteY0" fmla="*/ 257726 h 380885"/>
              <a:gd name="connsiteX1" fmla="*/ 339668 w 380152"/>
              <a:gd name="connsiteY1" fmla="*/ 270606 h 380885"/>
              <a:gd name="connsiteX2" fmla="*/ 292932 w 380152"/>
              <a:gd name="connsiteY2" fmla="*/ 334148 h 380885"/>
              <a:gd name="connsiteX3" fmla="*/ 286798 w 380152"/>
              <a:gd name="connsiteY3" fmla="*/ 337828 h 380885"/>
              <a:gd name="connsiteX4" fmla="*/ 285571 w 380152"/>
              <a:gd name="connsiteY4" fmla="*/ 337951 h 380885"/>
              <a:gd name="connsiteX5" fmla="*/ 279929 w 380152"/>
              <a:gd name="connsiteY5" fmla="*/ 335988 h 380885"/>
              <a:gd name="connsiteX6" fmla="*/ 245213 w 380152"/>
              <a:gd name="connsiteY6" fmla="*/ 308878 h 380885"/>
              <a:gd name="connsiteX7" fmla="*/ 243619 w 380152"/>
              <a:gd name="connsiteY7" fmla="*/ 295875 h 380885"/>
              <a:gd name="connsiteX8" fmla="*/ 256622 w 380152"/>
              <a:gd name="connsiteY8" fmla="*/ 294281 h 380885"/>
              <a:gd name="connsiteX9" fmla="*/ 283854 w 380152"/>
              <a:gd name="connsiteY9" fmla="*/ 315625 h 380885"/>
              <a:gd name="connsiteX10" fmla="*/ 324948 w 380152"/>
              <a:gd name="connsiteY10" fmla="*/ 259688 h 380885"/>
              <a:gd name="connsiteX11" fmla="*/ 337828 w 380152"/>
              <a:gd name="connsiteY11" fmla="*/ 257726 h 380885"/>
              <a:gd name="connsiteX12" fmla="*/ 293791 w 380152"/>
              <a:gd name="connsiteY12" fmla="*/ 225832 h 380885"/>
              <a:gd name="connsiteX13" fmla="*/ 225587 w 380152"/>
              <a:gd name="connsiteY13" fmla="*/ 294035 h 380885"/>
              <a:gd name="connsiteX14" fmla="*/ 293791 w 380152"/>
              <a:gd name="connsiteY14" fmla="*/ 362239 h 380885"/>
              <a:gd name="connsiteX15" fmla="*/ 361994 w 380152"/>
              <a:gd name="connsiteY15" fmla="*/ 294035 h 380885"/>
              <a:gd name="connsiteX16" fmla="*/ 293791 w 380152"/>
              <a:gd name="connsiteY16" fmla="*/ 225832 h 380885"/>
              <a:gd name="connsiteX17" fmla="*/ 167319 w 380152"/>
              <a:gd name="connsiteY17" fmla="*/ 69676 h 380885"/>
              <a:gd name="connsiteX18" fmla="*/ 70043 w 380152"/>
              <a:gd name="connsiteY18" fmla="*/ 79244 h 380885"/>
              <a:gd name="connsiteX19" fmla="*/ 70166 w 380152"/>
              <a:gd name="connsiteY19" fmla="*/ 153458 h 380885"/>
              <a:gd name="connsiteX20" fmla="*/ 167319 w 380152"/>
              <a:gd name="connsiteY20" fmla="*/ 298575 h 380885"/>
              <a:gd name="connsiteX21" fmla="*/ 176520 w 380152"/>
              <a:gd name="connsiteY21" fmla="*/ 51030 h 380885"/>
              <a:gd name="connsiteX22" fmla="*/ 185720 w 380152"/>
              <a:gd name="connsiteY22" fmla="*/ 60230 h 380885"/>
              <a:gd name="connsiteX23" fmla="*/ 185720 w 380152"/>
              <a:gd name="connsiteY23" fmla="*/ 312436 h 380885"/>
              <a:gd name="connsiteX24" fmla="*/ 181672 w 380152"/>
              <a:gd name="connsiteY24" fmla="*/ 320042 h 380885"/>
              <a:gd name="connsiteX25" fmla="*/ 176520 w 380152"/>
              <a:gd name="connsiteY25" fmla="*/ 321636 h 380885"/>
              <a:gd name="connsiteX26" fmla="*/ 173085 w 380152"/>
              <a:gd name="connsiteY26" fmla="*/ 321023 h 380885"/>
              <a:gd name="connsiteX27" fmla="*/ 51644 w 380152"/>
              <a:gd name="connsiteY27" fmla="*/ 153335 h 380885"/>
              <a:gd name="connsiteX28" fmla="*/ 51521 w 380152"/>
              <a:gd name="connsiteY28" fmla="*/ 71761 h 380885"/>
              <a:gd name="connsiteX29" fmla="*/ 58636 w 380152"/>
              <a:gd name="connsiteY29" fmla="*/ 62806 h 380885"/>
              <a:gd name="connsiteX30" fmla="*/ 176520 w 380152"/>
              <a:gd name="connsiteY30" fmla="*/ 51030 h 380885"/>
              <a:gd name="connsiteX31" fmla="*/ 173821 w 380152"/>
              <a:gd name="connsiteY31" fmla="*/ 18400 h 380885"/>
              <a:gd name="connsiteX32" fmla="*/ 18523 w 380152"/>
              <a:gd name="connsiteY32" fmla="*/ 41216 h 380885"/>
              <a:gd name="connsiteX33" fmla="*/ 18646 w 380152"/>
              <a:gd name="connsiteY33" fmla="*/ 154317 h 380885"/>
              <a:gd name="connsiteX34" fmla="*/ 177256 w 380152"/>
              <a:gd name="connsiteY34" fmla="*/ 357333 h 380885"/>
              <a:gd name="connsiteX35" fmla="*/ 219454 w 380152"/>
              <a:gd name="connsiteY35" fmla="*/ 338319 h 380885"/>
              <a:gd name="connsiteX36" fmla="*/ 207187 w 380152"/>
              <a:gd name="connsiteY36" fmla="*/ 294036 h 380885"/>
              <a:gd name="connsiteX37" fmla="*/ 293791 w 380152"/>
              <a:gd name="connsiteY37" fmla="*/ 207432 h 380885"/>
              <a:gd name="connsiteX38" fmla="*/ 327279 w 380152"/>
              <a:gd name="connsiteY38" fmla="*/ 214179 h 380885"/>
              <a:gd name="connsiteX39" fmla="*/ 335866 w 380152"/>
              <a:gd name="connsiteY39" fmla="*/ 154317 h 380885"/>
              <a:gd name="connsiteX40" fmla="*/ 335988 w 380152"/>
              <a:gd name="connsiteY40" fmla="*/ 41707 h 380885"/>
              <a:gd name="connsiteX41" fmla="*/ 173821 w 380152"/>
              <a:gd name="connsiteY41" fmla="*/ 18400 h 380885"/>
              <a:gd name="connsiteX42" fmla="*/ 173821 w 380152"/>
              <a:gd name="connsiteY42" fmla="*/ 0 h 380885"/>
              <a:gd name="connsiteX43" fmla="*/ 348255 w 380152"/>
              <a:gd name="connsiteY43" fmla="*/ 26496 h 380885"/>
              <a:gd name="connsiteX44" fmla="*/ 354511 w 380152"/>
              <a:gd name="connsiteY44" fmla="*/ 35206 h 380885"/>
              <a:gd name="connsiteX45" fmla="*/ 354389 w 380152"/>
              <a:gd name="connsiteY45" fmla="*/ 154440 h 380885"/>
              <a:gd name="connsiteX46" fmla="*/ 343716 w 380152"/>
              <a:gd name="connsiteY46" fmla="*/ 223502 h 380885"/>
              <a:gd name="connsiteX47" fmla="*/ 380149 w 380152"/>
              <a:gd name="connsiteY47" fmla="*/ 294281 h 380885"/>
              <a:gd name="connsiteX48" fmla="*/ 293545 w 380152"/>
              <a:gd name="connsiteY48" fmla="*/ 380885 h 380885"/>
              <a:gd name="connsiteX49" fmla="*/ 230494 w 380152"/>
              <a:gd name="connsiteY49" fmla="*/ 353407 h 380885"/>
              <a:gd name="connsiteX50" fmla="*/ 180200 w 380152"/>
              <a:gd name="connsiteY50" fmla="*/ 375978 h 380885"/>
              <a:gd name="connsiteX51" fmla="*/ 177256 w 380152"/>
              <a:gd name="connsiteY51" fmla="*/ 376469 h 380885"/>
              <a:gd name="connsiteX52" fmla="*/ 174680 w 380152"/>
              <a:gd name="connsiteY52" fmla="*/ 376101 h 380885"/>
              <a:gd name="connsiteX53" fmla="*/ 123 w 380152"/>
              <a:gd name="connsiteY53" fmla="*/ 154440 h 380885"/>
              <a:gd name="connsiteX54" fmla="*/ 0 w 380152"/>
              <a:gd name="connsiteY54" fmla="*/ 34838 h 380885"/>
              <a:gd name="connsiteX55" fmla="*/ 6011 w 380152"/>
              <a:gd name="connsiteY55" fmla="*/ 26128 h 380885"/>
              <a:gd name="connsiteX56" fmla="*/ 173821 w 380152"/>
              <a:gd name="connsiteY56" fmla="*/ 0 h 38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80152" h="380885">
                <a:moveTo>
                  <a:pt x="337828" y="257726"/>
                </a:moveTo>
                <a:cubicBezTo>
                  <a:pt x="341999" y="260793"/>
                  <a:pt x="342857" y="266558"/>
                  <a:pt x="339668" y="270606"/>
                </a:cubicBezTo>
                <a:lnTo>
                  <a:pt x="292932" y="334148"/>
                </a:lnTo>
                <a:cubicBezTo>
                  <a:pt x="291459" y="336111"/>
                  <a:pt x="289252" y="337460"/>
                  <a:pt x="286798" y="337828"/>
                </a:cubicBezTo>
                <a:cubicBezTo>
                  <a:pt x="286430" y="337951"/>
                  <a:pt x="285939" y="337951"/>
                  <a:pt x="285571" y="337951"/>
                </a:cubicBezTo>
                <a:cubicBezTo>
                  <a:pt x="283609" y="337951"/>
                  <a:pt x="281523" y="337215"/>
                  <a:pt x="279929" y="335988"/>
                </a:cubicBezTo>
                <a:lnTo>
                  <a:pt x="245213" y="308878"/>
                </a:lnTo>
                <a:cubicBezTo>
                  <a:pt x="241165" y="305689"/>
                  <a:pt x="240429" y="299924"/>
                  <a:pt x="243619" y="295875"/>
                </a:cubicBezTo>
                <a:cubicBezTo>
                  <a:pt x="246808" y="291828"/>
                  <a:pt x="252574" y="291092"/>
                  <a:pt x="256622" y="294281"/>
                </a:cubicBezTo>
                <a:lnTo>
                  <a:pt x="283854" y="315625"/>
                </a:lnTo>
                <a:lnTo>
                  <a:pt x="324948" y="259688"/>
                </a:lnTo>
                <a:cubicBezTo>
                  <a:pt x="327892" y="255641"/>
                  <a:pt x="333780" y="254659"/>
                  <a:pt x="337828" y="257726"/>
                </a:cubicBezTo>
                <a:close/>
                <a:moveTo>
                  <a:pt x="293791" y="225832"/>
                </a:moveTo>
                <a:cubicBezTo>
                  <a:pt x="256132" y="225832"/>
                  <a:pt x="225587" y="256499"/>
                  <a:pt x="225587" y="294035"/>
                </a:cubicBezTo>
                <a:cubicBezTo>
                  <a:pt x="225587" y="331695"/>
                  <a:pt x="256254" y="362239"/>
                  <a:pt x="293791" y="362239"/>
                </a:cubicBezTo>
                <a:cubicBezTo>
                  <a:pt x="331450" y="362239"/>
                  <a:pt x="361994" y="331695"/>
                  <a:pt x="361994" y="294035"/>
                </a:cubicBezTo>
                <a:cubicBezTo>
                  <a:pt x="361994" y="256376"/>
                  <a:pt x="331327" y="225832"/>
                  <a:pt x="293791" y="225832"/>
                </a:cubicBezTo>
                <a:close/>
                <a:moveTo>
                  <a:pt x="167319" y="69676"/>
                </a:moveTo>
                <a:cubicBezTo>
                  <a:pt x="122790" y="70167"/>
                  <a:pt x="90774" y="74828"/>
                  <a:pt x="70043" y="79244"/>
                </a:cubicBezTo>
                <a:lnTo>
                  <a:pt x="70166" y="153458"/>
                </a:lnTo>
                <a:cubicBezTo>
                  <a:pt x="70166" y="237854"/>
                  <a:pt x="126225" y="279439"/>
                  <a:pt x="167319" y="298575"/>
                </a:cubicBezTo>
                <a:close/>
                <a:moveTo>
                  <a:pt x="176520" y="51030"/>
                </a:moveTo>
                <a:cubicBezTo>
                  <a:pt x="181672" y="51030"/>
                  <a:pt x="185720" y="55201"/>
                  <a:pt x="185720" y="60230"/>
                </a:cubicBezTo>
                <a:lnTo>
                  <a:pt x="185720" y="312436"/>
                </a:lnTo>
                <a:cubicBezTo>
                  <a:pt x="185720" y="315503"/>
                  <a:pt x="184248" y="318324"/>
                  <a:pt x="181672" y="320042"/>
                </a:cubicBezTo>
                <a:cubicBezTo>
                  <a:pt x="180200" y="321145"/>
                  <a:pt x="178360" y="321636"/>
                  <a:pt x="176520" y="321636"/>
                </a:cubicBezTo>
                <a:cubicBezTo>
                  <a:pt x="175293" y="321636"/>
                  <a:pt x="174189" y="321391"/>
                  <a:pt x="173085" y="321023"/>
                </a:cubicBezTo>
                <a:cubicBezTo>
                  <a:pt x="127821" y="303236"/>
                  <a:pt x="51644" y="257726"/>
                  <a:pt x="51644" y="153335"/>
                </a:cubicBezTo>
                <a:lnTo>
                  <a:pt x="51521" y="71761"/>
                </a:lnTo>
                <a:cubicBezTo>
                  <a:pt x="51521" y="67467"/>
                  <a:pt x="54465" y="63787"/>
                  <a:pt x="58636" y="62806"/>
                </a:cubicBezTo>
                <a:cubicBezTo>
                  <a:pt x="81084" y="57409"/>
                  <a:pt x="119724" y="51030"/>
                  <a:pt x="176520" y="51030"/>
                </a:cubicBezTo>
                <a:close/>
                <a:moveTo>
                  <a:pt x="173821" y="18400"/>
                </a:moveTo>
                <a:cubicBezTo>
                  <a:pt x="94823" y="18400"/>
                  <a:pt x="47841" y="30790"/>
                  <a:pt x="18523" y="41216"/>
                </a:cubicBezTo>
                <a:lnTo>
                  <a:pt x="18646" y="154317"/>
                </a:lnTo>
                <a:cubicBezTo>
                  <a:pt x="18646" y="295630"/>
                  <a:pt x="136407" y="344575"/>
                  <a:pt x="177256" y="357333"/>
                </a:cubicBezTo>
                <a:cubicBezTo>
                  <a:pt x="186578" y="354143"/>
                  <a:pt x="202035" y="348010"/>
                  <a:pt x="219454" y="338319"/>
                </a:cubicBezTo>
                <a:cubicBezTo>
                  <a:pt x="211725" y="325316"/>
                  <a:pt x="207187" y="310228"/>
                  <a:pt x="207187" y="294036"/>
                </a:cubicBezTo>
                <a:cubicBezTo>
                  <a:pt x="207187" y="246318"/>
                  <a:pt x="246073" y="207432"/>
                  <a:pt x="293791" y="207432"/>
                </a:cubicBezTo>
                <a:cubicBezTo>
                  <a:pt x="305689" y="207432"/>
                  <a:pt x="316975" y="209885"/>
                  <a:pt x="327279" y="214179"/>
                </a:cubicBezTo>
                <a:cubicBezTo>
                  <a:pt x="332922" y="195410"/>
                  <a:pt x="335866" y="175293"/>
                  <a:pt x="335866" y="154317"/>
                </a:cubicBezTo>
                <a:lnTo>
                  <a:pt x="335988" y="41707"/>
                </a:lnTo>
                <a:cubicBezTo>
                  <a:pt x="288271" y="26251"/>
                  <a:pt x="233683" y="18400"/>
                  <a:pt x="173821" y="18400"/>
                </a:cubicBezTo>
                <a:close/>
                <a:moveTo>
                  <a:pt x="173821" y="0"/>
                </a:moveTo>
                <a:cubicBezTo>
                  <a:pt x="238467" y="0"/>
                  <a:pt x="297103" y="8955"/>
                  <a:pt x="348255" y="26496"/>
                </a:cubicBezTo>
                <a:cubicBezTo>
                  <a:pt x="352058" y="27723"/>
                  <a:pt x="354511" y="31280"/>
                  <a:pt x="354511" y="35206"/>
                </a:cubicBezTo>
                <a:lnTo>
                  <a:pt x="354389" y="154440"/>
                </a:lnTo>
                <a:cubicBezTo>
                  <a:pt x="354389" y="178728"/>
                  <a:pt x="350708" y="201912"/>
                  <a:pt x="343716" y="223502"/>
                </a:cubicBezTo>
                <a:cubicBezTo>
                  <a:pt x="365920" y="239203"/>
                  <a:pt x="380394" y="264963"/>
                  <a:pt x="380149" y="294281"/>
                </a:cubicBezTo>
                <a:cubicBezTo>
                  <a:pt x="380149" y="341999"/>
                  <a:pt x="341263" y="380885"/>
                  <a:pt x="293545" y="380885"/>
                </a:cubicBezTo>
                <a:cubicBezTo>
                  <a:pt x="268644" y="380885"/>
                  <a:pt x="246318" y="370213"/>
                  <a:pt x="230494" y="353407"/>
                </a:cubicBezTo>
                <a:cubicBezTo>
                  <a:pt x="208904" y="365551"/>
                  <a:pt x="190013" y="372666"/>
                  <a:pt x="180200" y="375978"/>
                </a:cubicBezTo>
                <a:cubicBezTo>
                  <a:pt x="179218" y="376346"/>
                  <a:pt x="178237" y="376469"/>
                  <a:pt x="177256" y="376469"/>
                </a:cubicBezTo>
                <a:cubicBezTo>
                  <a:pt x="176397" y="376469"/>
                  <a:pt x="175538" y="376346"/>
                  <a:pt x="174680" y="376101"/>
                </a:cubicBezTo>
                <a:cubicBezTo>
                  <a:pt x="145607" y="367391"/>
                  <a:pt x="123" y="315994"/>
                  <a:pt x="123" y="154440"/>
                </a:cubicBezTo>
                <a:lnTo>
                  <a:pt x="0" y="34838"/>
                </a:lnTo>
                <a:cubicBezTo>
                  <a:pt x="0" y="30912"/>
                  <a:pt x="2453" y="27478"/>
                  <a:pt x="6011" y="26128"/>
                </a:cubicBezTo>
                <a:cubicBezTo>
                  <a:pt x="36064" y="14965"/>
                  <a:pt x="86236" y="0"/>
                  <a:pt x="173821" y="0"/>
                </a:cubicBezTo>
                <a:close/>
              </a:path>
            </a:pathLst>
          </a:custGeom>
          <a:gradFill rotWithShape="1">
            <a:gsLst>
              <a:gs pos="0">
                <a:srgbClr val="0082D2">
                  <a:satMod val="103000"/>
                  <a:lumMod val="102000"/>
                  <a:tint val="94000"/>
                </a:srgbClr>
              </a:gs>
              <a:gs pos="50000">
                <a:srgbClr val="0082D2">
                  <a:satMod val="110000"/>
                  <a:lumMod val="100000"/>
                  <a:shade val="100000"/>
                </a:srgbClr>
              </a:gs>
              <a:gs pos="100000">
                <a:srgbClr val="0082D2">
                  <a:lumMod val="99000"/>
                  <a:satMod val="120000"/>
                  <a:shade val="78000"/>
                </a:srgbClr>
              </a:gs>
            </a:gsLst>
            <a:lin ang="5400000" scaled="0"/>
          </a:gradFill>
          <a:ln w="6350" cap="flat" cmpd="sng" algn="ctr">
            <a:solidFill>
              <a:srgbClr val="0082D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16" name="Freihandform: Form 701">
            <a:extLst>
              <a:ext uri="{FF2B5EF4-FFF2-40B4-BE49-F238E27FC236}">
                <a16:creationId xmlns:a16="http://schemas.microsoft.com/office/drawing/2014/main" id="{4353BB99-D5DC-F0E5-4516-C4825B70CAB1}"/>
              </a:ext>
            </a:extLst>
          </p:cNvPr>
          <p:cNvSpPr/>
          <p:nvPr/>
        </p:nvSpPr>
        <p:spPr>
          <a:xfrm>
            <a:off x="5247233" y="3986085"/>
            <a:ext cx="1073961" cy="1008400"/>
          </a:xfrm>
          <a:custGeom>
            <a:avLst/>
            <a:gdLst>
              <a:gd name="connsiteX0" fmla="*/ 208414 w 442096"/>
              <a:gd name="connsiteY0" fmla="*/ 120583 h 435350"/>
              <a:gd name="connsiteX1" fmla="*/ 193080 w 442096"/>
              <a:gd name="connsiteY1" fmla="*/ 135917 h 435350"/>
              <a:gd name="connsiteX2" fmla="*/ 208414 w 442096"/>
              <a:gd name="connsiteY2" fmla="*/ 151250 h 435350"/>
              <a:gd name="connsiteX3" fmla="*/ 298207 w 442096"/>
              <a:gd name="connsiteY3" fmla="*/ 151250 h 435350"/>
              <a:gd name="connsiteX4" fmla="*/ 308265 w 442096"/>
              <a:gd name="connsiteY4" fmla="*/ 161309 h 435350"/>
              <a:gd name="connsiteX5" fmla="*/ 308265 w 442096"/>
              <a:gd name="connsiteY5" fmla="*/ 399776 h 435350"/>
              <a:gd name="connsiteX6" fmla="*/ 323599 w 442096"/>
              <a:gd name="connsiteY6" fmla="*/ 415109 h 435350"/>
              <a:gd name="connsiteX7" fmla="*/ 336356 w 442096"/>
              <a:gd name="connsiteY7" fmla="*/ 407872 h 435350"/>
              <a:gd name="connsiteX8" fmla="*/ 336356 w 442096"/>
              <a:gd name="connsiteY8" fmla="*/ 264964 h 435350"/>
              <a:gd name="connsiteX9" fmla="*/ 346415 w 442096"/>
              <a:gd name="connsiteY9" fmla="*/ 254905 h 435350"/>
              <a:gd name="connsiteX10" fmla="*/ 356474 w 442096"/>
              <a:gd name="connsiteY10" fmla="*/ 264964 h 435350"/>
              <a:gd name="connsiteX11" fmla="*/ 356474 w 442096"/>
              <a:gd name="connsiteY11" fmla="*/ 407872 h 435350"/>
              <a:gd name="connsiteX12" fmla="*/ 369232 w 442096"/>
              <a:gd name="connsiteY12" fmla="*/ 415109 h 435350"/>
              <a:gd name="connsiteX13" fmla="*/ 384565 w 442096"/>
              <a:gd name="connsiteY13" fmla="*/ 399776 h 435350"/>
              <a:gd name="connsiteX14" fmla="*/ 384565 w 442096"/>
              <a:gd name="connsiteY14" fmla="*/ 161309 h 435350"/>
              <a:gd name="connsiteX15" fmla="*/ 394624 w 442096"/>
              <a:gd name="connsiteY15" fmla="*/ 151250 h 435350"/>
              <a:gd name="connsiteX16" fmla="*/ 404683 w 442096"/>
              <a:gd name="connsiteY16" fmla="*/ 161309 h 435350"/>
              <a:gd name="connsiteX17" fmla="*/ 404683 w 442096"/>
              <a:gd name="connsiteY17" fmla="*/ 265454 h 435350"/>
              <a:gd name="connsiteX18" fmla="*/ 421979 w 442096"/>
              <a:gd name="connsiteY18" fmla="*/ 244600 h 435350"/>
              <a:gd name="connsiteX19" fmla="*/ 421979 w 442096"/>
              <a:gd name="connsiteY19" fmla="*/ 135917 h 435350"/>
              <a:gd name="connsiteX20" fmla="*/ 406646 w 442096"/>
              <a:gd name="connsiteY20" fmla="*/ 120583 h 435350"/>
              <a:gd name="connsiteX21" fmla="*/ 394624 w 442096"/>
              <a:gd name="connsiteY21" fmla="*/ 120583 h 435350"/>
              <a:gd name="connsiteX22" fmla="*/ 393888 w 442096"/>
              <a:gd name="connsiteY22" fmla="*/ 120583 h 435350"/>
              <a:gd name="connsiteX23" fmla="*/ 375242 w 442096"/>
              <a:gd name="connsiteY23" fmla="*/ 120583 h 435350"/>
              <a:gd name="connsiteX24" fmla="*/ 354879 w 442096"/>
              <a:gd name="connsiteY24" fmla="*/ 152231 h 435350"/>
              <a:gd name="connsiteX25" fmla="*/ 346415 w 442096"/>
              <a:gd name="connsiteY25" fmla="*/ 156893 h 435350"/>
              <a:gd name="connsiteX26" fmla="*/ 337951 w 442096"/>
              <a:gd name="connsiteY26" fmla="*/ 152231 h 435350"/>
              <a:gd name="connsiteX27" fmla="*/ 317588 w 442096"/>
              <a:gd name="connsiteY27" fmla="*/ 120583 h 435350"/>
              <a:gd name="connsiteX28" fmla="*/ 298942 w 442096"/>
              <a:gd name="connsiteY28" fmla="*/ 120583 h 435350"/>
              <a:gd name="connsiteX29" fmla="*/ 298207 w 442096"/>
              <a:gd name="connsiteY29" fmla="*/ 120583 h 435350"/>
              <a:gd name="connsiteX30" fmla="*/ 208168 w 442096"/>
              <a:gd name="connsiteY30" fmla="*/ 100220 h 435350"/>
              <a:gd name="connsiteX31" fmla="*/ 297225 w 442096"/>
              <a:gd name="connsiteY31" fmla="*/ 100220 h 435350"/>
              <a:gd name="connsiteX32" fmla="*/ 297961 w 442096"/>
              <a:gd name="connsiteY32" fmla="*/ 100220 h 435350"/>
              <a:gd name="connsiteX33" fmla="*/ 323108 w 442096"/>
              <a:gd name="connsiteY33" fmla="*/ 100220 h 435350"/>
              <a:gd name="connsiteX34" fmla="*/ 331572 w 442096"/>
              <a:gd name="connsiteY34" fmla="*/ 104881 h 435350"/>
              <a:gd name="connsiteX35" fmla="*/ 346415 w 442096"/>
              <a:gd name="connsiteY35" fmla="*/ 127943 h 435350"/>
              <a:gd name="connsiteX36" fmla="*/ 361258 w 442096"/>
              <a:gd name="connsiteY36" fmla="*/ 104881 h 435350"/>
              <a:gd name="connsiteX37" fmla="*/ 369722 w 442096"/>
              <a:gd name="connsiteY37" fmla="*/ 100220 h 435350"/>
              <a:gd name="connsiteX38" fmla="*/ 394623 w 442096"/>
              <a:gd name="connsiteY38" fmla="*/ 100220 h 435350"/>
              <a:gd name="connsiteX39" fmla="*/ 395359 w 442096"/>
              <a:gd name="connsiteY39" fmla="*/ 100220 h 435350"/>
              <a:gd name="connsiteX40" fmla="*/ 406645 w 442096"/>
              <a:gd name="connsiteY40" fmla="*/ 100220 h 435350"/>
              <a:gd name="connsiteX41" fmla="*/ 442096 w 442096"/>
              <a:gd name="connsiteY41" fmla="*/ 135671 h 435350"/>
              <a:gd name="connsiteX42" fmla="*/ 442096 w 442096"/>
              <a:gd name="connsiteY42" fmla="*/ 244478 h 435350"/>
              <a:gd name="connsiteX43" fmla="*/ 404560 w 442096"/>
              <a:gd name="connsiteY43" fmla="*/ 285817 h 435350"/>
              <a:gd name="connsiteX44" fmla="*/ 404560 w 442096"/>
              <a:gd name="connsiteY44" fmla="*/ 399776 h 435350"/>
              <a:gd name="connsiteX45" fmla="*/ 368986 w 442096"/>
              <a:gd name="connsiteY45" fmla="*/ 435350 h 435350"/>
              <a:gd name="connsiteX46" fmla="*/ 346169 w 442096"/>
              <a:gd name="connsiteY46" fmla="*/ 427008 h 435350"/>
              <a:gd name="connsiteX47" fmla="*/ 323353 w 442096"/>
              <a:gd name="connsiteY47" fmla="*/ 435350 h 435350"/>
              <a:gd name="connsiteX48" fmla="*/ 287780 w 442096"/>
              <a:gd name="connsiteY48" fmla="*/ 399776 h 435350"/>
              <a:gd name="connsiteX49" fmla="*/ 287780 w 442096"/>
              <a:gd name="connsiteY49" fmla="*/ 171368 h 435350"/>
              <a:gd name="connsiteX50" fmla="*/ 208168 w 442096"/>
              <a:gd name="connsiteY50" fmla="*/ 171368 h 435350"/>
              <a:gd name="connsiteX51" fmla="*/ 172594 w 442096"/>
              <a:gd name="connsiteY51" fmla="*/ 135794 h 435350"/>
              <a:gd name="connsiteX52" fmla="*/ 208168 w 442096"/>
              <a:gd name="connsiteY52" fmla="*/ 100220 h 435350"/>
              <a:gd name="connsiteX53" fmla="*/ 51643 w 442096"/>
              <a:gd name="connsiteY53" fmla="*/ 78753 h 435350"/>
              <a:gd name="connsiteX54" fmla="*/ 20976 w 442096"/>
              <a:gd name="connsiteY54" fmla="*/ 181059 h 435350"/>
              <a:gd name="connsiteX55" fmla="*/ 20976 w 442096"/>
              <a:gd name="connsiteY55" fmla="*/ 181181 h 435350"/>
              <a:gd name="connsiteX56" fmla="*/ 110892 w 442096"/>
              <a:gd name="connsiteY56" fmla="*/ 293545 h 435350"/>
              <a:gd name="connsiteX57" fmla="*/ 146957 w 442096"/>
              <a:gd name="connsiteY57" fmla="*/ 301151 h 435350"/>
              <a:gd name="connsiteX58" fmla="*/ 147079 w 442096"/>
              <a:gd name="connsiteY58" fmla="*/ 301151 h 435350"/>
              <a:gd name="connsiteX59" fmla="*/ 147079 w 442096"/>
              <a:gd name="connsiteY59" fmla="*/ 168792 h 435350"/>
              <a:gd name="connsiteX60" fmla="*/ 346293 w 442096"/>
              <a:gd name="connsiteY60" fmla="*/ 20118 h 435350"/>
              <a:gd name="connsiteX61" fmla="*/ 323354 w 442096"/>
              <a:gd name="connsiteY61" fmla="*/ 43057 h 435350"/>
              <a:gd name="connsiteX62" fmla="*/ 346293 w 442096"/>
              <a:gd name="connsiteY62" fmla="*/ 66119 h 435350"/>
              <a:gd name="connsiteX63" fmla="*/ 369232 w 442096"/>
              <a:gd name="connsiteY63" fmla="*/ 43057 h 435350"/>
              <a:gd name="connsiteX64" fmla="*/ 346293 w 442096"/>
              <a:gd name="connsiteY64" fmla="*/ 20118 h 435350"/>
              <a:gd name="connsiteX65" fmla="*/ 157261 w 442096"/>
              <a:gd name="connsiteY65" fmla="*/ 6992 h 435350"/>
              <a:gd name="connsiteX66" fmla="*/ 266558 w 442096"/>
              <a:gd name="connsiteY66" fmla="*/ 51153 h 435350"/>
              <a:gd name="connsiteX67" fmla="*/ 266804 w 442096"/>
              <a:gd name="connsiteY67" fmla="*/ 65505 h 435350"/>
              <a:gd name="connsiteX68" fmla="*/ 252451 w 442096"/>
              <a:gd name="connsiteY68" fmla="*/ 65750 h 435350"/>
              <a:gd name="connsiteX69" fmla="*/ 157138 w 442096"/>
              <a:gd name="connsiteY69" fmla="*/ 27232 h 435350"/>
              <a:gd name="connsiteX70" fmla="*/ 64646 w 442096"/>
              <a:gd name="connsiteY70" fmla="*/ 63174 h 435350"/>
              <a:gd name="connsiteX71" fmla="*/ 164007 w 442096"/>
              <a:gd name="connsiteY71" fmla="*/ 157015 h 435350"/>
              <a:gd name="connsiteX72" fmla="*/ 167197 w 442096"/>
              <a:gd name="connsiteY72" fmla="*/ 164375 h 435350"/>
              <a:gd name="connsiteX73" fmla="*/ 167197 w 442096"/>
              <a:gd name="connsiteY73" fmla="*/ 301028 h 435350"/>
              <a:gd name="connsiteX74" fmla="*/ 252328 w 442096"/>
              <a:gd name="connsiteY74" fmla="*/ 263001 h 435350"/>
              <a:gd name="connsiteX75" fmla="*/ 266681 w 442096"/>
              <a:gd name="connsiteY75" fmla="*/ 263246 h 435350"/>
              <a:gd name="connsiteX76" fmla="*/ 266435 w 442096"/>
              <a:gd name="connsiteY76" fmla="*/ 277598 h 435350"/>
              <a:gd name="connsiteX77" fmla="*/ 157506 w 442096"/>
              <a:gd name="connsiteY77" fmla="*/ 321759 h 435350"/>
              <a:gd name="connsiteX78" fmla="*/ 157261 w 442096"/>
              <a:gd name="connsiteY78" fmla="*/ 321759 h 435350"/>
              <a:gd name="connsiteX79" fmla="*/ 153458 w 442096"/>
              <a:gd name="connsiteY79" fmla="*/ 321881 h 435350"/>
              <a:gd name="connsiteX80" fmla="*/ 110156 w 442096"/>
              <a:gd name="connsiteY80" fmla="*/ 314644 h 435350"/>
              <a:gd name="connsiteX81" fmla="*/ 1227 w 442096"/>
              <a:gd name="connsiteY81" fmla="*/ 184002 h 435350"/>
              <a:gd name="connsiteX82" fmla="*/ 1227 w 442096"/>
              <a:gd name="connsiteY82" fmla="*/ 183634 h 435350"/>
              <a:gd name="connsiteX83" fmla="*/ 1227 w 442096"/>
              <a:gd name="connsiteY83" fmla="*/ 183389 h 435350"/>
              <a:gd name="connsiteX84" fmla="*/ 0 w 442096"/>
              <a:gd name="connsiteY84" fmla="*/ 164498 h 435350"/>
              <a:gd name="connsiteX85" fmla="*/ 42198 w 442096"/>
              <a:gd name="connsiteY85" fmla="*/ 57409 h 435350"/>
              <a:gd name="connsiteX86" fmla="*/ 42321 w 442096"/>
              <a:gd name="connsiteY86" fmla="*/ 57164 h 435350"/>
              <a:gd name="connsiteX87" fmla="*/ 43793 w 442096"/>
              <a:gd name="connsiteY87" fmla="*/ 55569 h 435350"/>
              <a:gd name="connsiteX88" fmla="*/ 157261 w 442096"/>
              <a:gd name="connsiteY88" fmla="*/ 6992 h 435350"/>
              <a:gd name="connsiteX89" fmla="*/ 346293 w 442096"/>
              <a:gd name="connsiteY89" fmla="*/ 0 h 435350"/>
              <a:gd name="connsiteX90" fmla="*/ 389472 w 442096"/>
              <a:gd name="connsiteY90" fmla="*/ 43179 h 435350"/>
              <a:gd name="connsiteX91" fmla="*/ 346293 w 442096"/>
              <a:gd name="connsiteY91" fmla="*/ 86358 h 435350"/>
              <a:gd name="connsiteX92" fmla="*/ 303114 w 442096"/>
              <a:gd name="connsiteY92" fmla="*/ 43179 h 435350"/>
              <a:gd name="connsiteX93" fmla="*/ 346293 w 442096"/>
              <a:gd name="connsiteY93" fmla="*/ 0 h 43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42096" h="435350">
                <a:moveTo>
                  <a:pt x="208414" y="120583"/>
                </a:moveTo>
                <a:cubicBezTo>
                  <a:pt x="199950" y="120583"/>
                  <a:pt x="193080" y="127452"/>
                  <a:pt x="193080" y="135917"/>
                </a:cubicBezTo>
                <a:cubicBezTo>
                  <a:pt x="193080" y="144381"/>
                  <a:pt x="199950" y="151250"/>
                  <a:pt x="208414" y="151250"/>
                </a:cubicBezTo>
                <a:lnTo>
                  <a:pt x="298207" y="151250"/>
                </a:lnTo>
                <a:cubicBezTo>
                  <a:pt x="303727" y="151250"/>
                  <a:pt x="308265" y="155666"/>
                  <a:pt x="308265" y="161309"/>
                </a:cubicBezTo>
                <a:lnTo>
                  <a:pt x="308265" y="399776"/>
                </a:lnTo>
                <a:cubicBezTo>
                  <a:pt x="308265" y="408240"/>
                  <a:pt x="315135" y="415109"/>
                  <a:pt x="323599" y="415109"/>
                </a:cubicBezTo>
                <a:cubicBezTo>
                  <a:pt x="328874" y="415109"/>
                  <a:pt x="333535" y="412288"/>
                  <a:pt x="336356" y="407872"/>
                </a:cubicBezTo>
                <a:lnTo>
                  <a:pt x="336356" y="264964"/>
                </a:lnTo>
                <a:cubicBezTo>
                  <a:pt x="336356" y="259443"/>
                  <a:pt x="340772" y="254905"/>
                  <a:pt x="346415" y="254905"/>
                </a:cubicBezTo>
                <a:cubicBezTo>
                  <a:pt x="351935" y="254905"/>
                  <a:pt x="356474" y="259321"/>
                  <a:pt x="356474" y="264964"/>
                </a:cubicBezTo>
                <a:lnTo>
                  <a:pt x="356474" y="407872"/>
                </a:lnTo>
                <a:cubicBezTo>
                  <a:pt x="359296" y="412288"/>
                  <a:pt x="363957" y="415109"/>
                  <a:pt x="369232" y="415109"/>
                </a:cubicBezTo>
                <a:cubicBezTo>
                  <a:pt x="377696" y="415109"/>
                  <a:pt x="384565" y="408240"/>
                  <a:pt x="384565" y="399776"/>
                </a:cubicBezTo>
                <a:lnTo>
                  <a:pt x="384565" y="161309"/>
                </a:lnTo>
                <a:cubicBezTo>
                  <a:pt x="384565" y="155789"/>
                  <a:pt x="389104" y="151250"/>
                  <a:pt x="394624" y="151250"/>
                </a:cubicBezTo>
                <a:cubicBezTo>
                  <a:pt x="400144" y="151250"/>
                  <a:pt x="404683" y="155666"/>
                  <a:pt x="404683" y="161309"/>
                </a:cubicBezTo>
                <a:lnTo>
                  <a:pt x="404683" y="265454"/>
                </a:lnTo>
                <a:cubicBezTo>
                  <a:pt x="418667" y="262387"/>
                  <a:pt x="421979" y="252819"/>
                  <a:pt x="421979" y="244600"/>
                </a:cubicBezTo>
                <a:lnTo>
                  <a:pt x="421979" y="135917"/>
                </a:lnTo>
                <a:cubicBezTo>
                  <a:pt x="421979" y="127452"/>
                  <a:pt x="415110" y="120583"/>
                  <a:pt x="406646" y="120583"/>
                </a:cubicBezTo>
                <a:lnTo>
                  <a:pt x="394624" y="120583"/>
                </a:lnTo>
                <a:cubicBezTo>
                  <a:pt x="394379" y="120583"/>
                  <a:pt x="394133" y="120583"/>
                  <a:pt x="393888" y="120583"/>
                </a:cubicBezTo>
                <a:lnTo>
                  <a:pt x="375242" y="120583"/>
                </a:lnTo>
                <a:lnTo>
                  <a:pt x="354879" y="152231"/>
                </a:lnTo>
                <a:cubicBezTo>
                  <a:pt x="353039" y="155175"/>
                  <a:pt x="349850" y="156893"/>
                  <a:pt x="346415" y="156893"/>
                </a:cubicBezTo>
                <a:cubicBezTo>
                  <a:pt x="342981" y="156893"/>
                  <a:pt x="339791" y="155175"/>
                  <a:pt x="337951" y="152231"/>
                </a:cubicBezTo>
                <a:lnTo>
                  <a:pt x="317588" y="120583"/>
                </a:lnTo>
                <a:lnTo>
                  <a:pt x="298942" y="120583"/>
                </a:lnTo>
                <a:cubicBezTo>
                  <a:pt x="298698" y="120583"/>
                  <a:pt x="298452" y="120583"/>
                  <a:pt x="298207" y="120583"/>
                </a:cubicBezTo>
                <a:close/>
                <a:moveTo>
                  <a:pt x="208168" y="100220"/>
                </a:moveTo>
                <a:lnTo>
                  <a:pt x="297225" y="100220"/>
                </a:lnTo>
                <a:cubicBezTo>
                  <a:pt x="297470" y="100220"/>
                  <a:pt x="297715" y="100220"/>
                  <a:pt x="297961" y="100220"/>
                </a:cubicBezTo>
                <a:lnTo>
                  <a:pt x="323108" y="100220"/>
                </a:lnTo>
                <a:cubicBezTo>
                  <a:pt x="326542" y="100220"/>
                  <a:pt x="329732" y="101938"/>
                  <a:pt x="331572" y="104881"/>
                </a:cubicBezTo>
                <a:lnTo>
                  <a:pt x="346415" y="127943"/>
                </a:lnTo>
                <a:lnTo>
                  <a:pt x="361258" y="104881"/>
                </a:lnTo>
                <a:cubicBezTo>
                  <a:pt x="363098" y="101938"/>
                  <a:pt x="366287" y="100220"/>
                  <a:pt x="369722" y="100220"/>
                </a:cubicBezTo>
                <a:lnTo>
                  <a:pt x="394623" y="100220"/>
                </a:lnTo>
                <a:cubicBezTo>
                  <a:pt x="394869" y="100220"/>
                  <a:pt x="395114" y="100220"/>
                  <a:pt x="395359" y="100220"/>
                </a:cubicBezTo>
                <a:lnTo>
                  <a:pt x="406645" y="100220"/>
                </a:lnTo>
                <a:cubicBezTo>
                  <a:pt x="426272" y="100220"/>
                  <a:pt x="442219" y="116167"/>
                  <a:pt x="442096" y="135671"/>
                </a:cubicBezTo>
                <a:lnTo>
                  <a:pt x="442096" y="244478"/>
                </a:lnTo>
                <a:cubicBezTo>
                  <a:pt x="442096" y="261897"/>
                  <a:pt x="432037" y="281892"/>
                  <a:pt x="404560" y="285817"/>
                </a:cubicBezTo>
                <a:lnTo>
                  <a:pt x="404560" y="399776"/>
                </a:lnTo>
                <a:cubicBezTo>
                  <a:pt x="404560" y="419403"/>
                  <a:pt x="388613" y="435350"/>
                  <a:pt x="368986" y="435350"/>
                </a:cubicBezTo>
                <a:cubicBezTo>
                  <a:pt x="360399" y="435350"/>
                  <a:pt x="352426" y="432283"/>
                  <a:pt x="346169" y="427008"/>
                </a:cubicBezTo>
                <a:cubicBezTo>
                  <a:pt x="339914" y="432283"/>
                  <a:pt x="331940" y="435350"/>
                  <a:pt x="323353" y="435350"/>
                </a:cubicBezTo>
                <a:cubicBezTo>
                  <a:pt x="303727" y="435350"/>
                  <a:pt x="287780" y="419403"/>
                  <a:pt x="287780" y="399776"/>
                </a:cubicBezTo>
                <a:lnTo>
                  <a:pt x="287780" y="171368"/>
                </a:lnTo>
                <a:lnTo>
                  <a:pt x="208168" y="171368"/>
                </a:lnTo>
                <a:cubicBezTo>
                  <a:pt x="188541" y="171368"/>
                  <a:pt x="172594" y="155421"/>
                  <a:pt x="172594" y="135794"/>
                </a:cubicBezTo>
                <a:cubicBezTo>
                  <a:pt x="172594" y="116167"/>
                  <a:pt x="188541" y="100220"/>
                  <a:pt x="208168" y="100220"/>
                </a:cubicBezTo>
                <a:close/>
                <a:moveTo>
                  <a:pt x="51643" y="78753"/>
                </a:moveTo>
                <a:cubicBezTo>
                  <a:pt x="39745" y="96908"/>
                  <a:pt x="15824" y="139474"/>
                  <a:pt x="20976" y="181059"/>
                </a:cubicBezTo>
                <a:cubicBezTo>
                  <a:pt x="20976" y="181059"/>
                  <a:pt x="20976" y="181181"/>
                  <a:pt x="20976" y="181181"/>
                </a:cubicBezTo>
                <a:cubicBezTo>
                  <a:pt x="26496" y="225955"/>
                  <a:pt x="62316" y="274654"/>
                  <a:pt x="110892" y="293545"/>
                </a:cubicBezTo>
                <a:cubicBezTo>
                  <a:pt x="122301" y="297593"/>
                  <a:pt x="134445" y="300292"/>
                  <a:pt x="146957" y="301151"/>
                </a:cubicBezTo>
                <a:lnTo>
                  <a:pt x="147079" y="301151"/>
                </a:lnTo>
                <a:lnTo>
                  <a:pt x="147079" y="168792"/>
                </a:lnTo>
                <a:close/>
                <a:moveTo>
                  <a:pt x="346293" y="20118"/>
                </a:moveTo>
                <a:cubicBezTo>
                  <a:pt x="333658" y="20118"/>
                  <a:pt x="323354" y="30422"/>
                  <a:pt x="323354" y="43057"/>
                </a:cubicBezTo>
                <a:cubicBezTo>
                  <a:pt x="323354" y="55815"/>
                  <a:pt x="333658" y="66119"/>
                  <a:pt x="346293" y="66119"/>
                </a:cubicBezTo>
                <a:cubicBezTo>
                  <a:pt x="358928" y="66119"/>
                  <a:pt x="369232" y="55692"/>
                  <a:pt x="369232" y="43057"/>
                </a:cubicBezTo>
                <a:cubicBezTo>
                  <a:pt x="369232" y="30422"/>
                  <a:pt x="358928" y="20118"/>
                  <a:pt x="346293" y="20118"/>
                </a:cubicBezTo>
                <a:close/>
                <a:moveTo>
                  <a:pt x="157261" y="6992"/>
                </a:moveTo>
                <a:cubicBezTo>
                  <a:pt x="198232" y="6992"/>
                  <a:pt x="236995" y="22694"/>
                  <a:pt x="266558" y="51153"/>
                </a:cubicBezTo>
                <a:cubicBezTo>
                  <a:pt x="270606" y="55078"/>
                  <a:pt x="270729" y="61457"/>
                  <a:pt x="266804" y="65505"/>
                </a:cubicBezTo>
                <a:cubicBezTo>
                  <a:pt x="262878" y="69553"/>
                  <a:pt x="256499" y="69676"/>
                  <a:pt x="252451" y="65750"/>
                </a:cubicBezTo>
                <a:cubicBezTo>
                  <a:pt x="226691" y="40971"/>
                  <a:pt x="192834" y="27232"/>
                  <a:pt x="157138" y="27232"/>
                </a:cubicBezTo>
                <a:cubicBezTo>
                  <a:pt x="121564" y="27232"/>
                  <a:pt x="89057" y="40849"/>
                  <a:pt x="64646" y="63174"/>
                </a:cubicBezTo>
                <a:lnTo>
                  <a:pt x="164007" y="157015"/>
                </a:lnTo>
                <a:cubicBezTo>
                  <a:pt x="166093" y="158978"/>
                  <a:pt x="167197" y="161554"/>
                  <a:pt x="167197" y="164375"/>
                </a:cubicBezTo>
                <a:lnTo>
                  <a:pt x="167197" y="301028"/>
                </a:lnTo>
                <a:cubicBezTo>
                  <a:pt x="199090" y="298697"/>
                  <a:pt x="229022" y="285449"/>
                  <a:pt x="252328" y="263001"/>
                </a:cubicBezTo>
                <a:cubicBezTo>
                  <a:pt x="256377" y="259198"/>
                  <a:pt x="262755" y="259321"/>
                  <a:pt x="266681" y="263246"/>
                </a:cubicBezTo>
                <a:cubicBezTo>
                  <a:pt x="270606" y="267294"/>
                  <a:pt x="270484" y="273673"/>
                  <a:pt x="266435" y="277598"/>
                </a:cubicBezTo>
                <a:cubicBezTo>
                  <a:pt x="236995" y="305935"/>
                  <a:pt x="198355" y="321636"/>
                  <a:pt x="157506" y="321759"/>
                </a:cubicBezTo>
                <a:cubicBezTo>
                  <a:pt x="157506" y="321759"/>
                  <a:pt x="157383" y="321759"/>
                  <a:pt x="157261" y="321759"/>
                </a:cubicBezTo>
                <a:cubicBezTo>
                  <a:pt x="156034" y="321881"/>
                  <a:pt x="154685" y="321881"/>
                  <a:pt x="153458" y="321881"/>
                </a:cubicBezTo>
                <a:cubicBezTo>
                  <a:pt x="138370" y="321881"/>
                  <a:pt x="123895" y="319306"/>
                  <a:pt x="110156" y="314644"/>
                </a:cubicBezTo>
                <a:cubicBezTo>
                  <a:pt x="52379" y="296367"/>
                  <a:pt x="8955" y="245705"/>
                  <a:pt x="1227" y="184002"/>
                </a:cubicBezTo>
                <a:cubicBezTo>
                  <a:pt x="1227" y="183880"/>
                  <a:pt x="1227" y="183757"/>
                  <a:pt x="1227" y="183634"/>
                </a:cubicBezTo>
                <a:cubicBezTo>
                  <a:pt x="1227" y="183634"/>
                  <a:pt x="1227" y="183512"/>
                  <a:pt x="1227" y="183389"/>
                </a:cubicBezTo>
                <a:cubicBezTo>
                  <a:pt x="368" y="177133"/>
                  <a:pt x="0" y="170877"/>
                  <a:pt x="0" y="164498"/>
                </a:cubicBezTo>
                <a:cubicBezTo>
                  <a:pt x="0" y="123159"/>
                  <a:pt x="16069" y="85500"/>
                  <a:pt x="42198" y="57409"/>
                </a:cubicBezTo>
                <a:cubicBezTo>
                  <a:pt x="42198" y="57286"/>
                  <a:pt x="42321" y="57164"/>
                  <a:pt x="42321" y="57164"/>
                </a:cubicBezTo>
                <a:cubicBezTo>
                  <a:pt x="42688" y="56550"/>
                  <a:pt x="43179" y="56059"/>
                  <a:pt x="43793" y="55569"/>
                </a:cubicBezTo>
                <a:cubicBezTo>
                  <a:pt x="72374" y="25638"/>
                  <a:pt x="112732" y="6992"/>
                  <a:pt x="157261" y="6992"/>
                </a:cubicBezTo>
                <a:close/>
                <a:moveTo>
                  <a:pt x="346293" y="0"/>
                </a:moveTo>
                <a:cubicBezTo>
                  <a:pt x="370090" y="0"/>
                  <a:pt x="389472" y="19382"/>
                  <a:pt x="389472" y="43179"/>
                </a:cubicBezTo>
                <a:cubicBezTo>
                  <a:pt x="389472" y="66977"/>
                  <a:pt x="370090" y="86358"/>
                  <a:pt x="346293" y="86358"/>
                </a:cubicBezTo>
                <a:cubicBezTo>
                  <a:pt x="322495" y="86358"/>
                  <a:pt x="303114" y="66977"/>
                  <a:pt x="303114" y="43179"/>
                </a:cubicBezTo>
                <a:cubicBezTo>
                  <a:pt x="303114" y="19382"/>
                  <a:pt x="322495" y="0"/>
                  <a:pt x="346293" y="0"/>
                </a:cubicBezTo>
                <a:close/>
              </a:path>
            </a:pathLst>
          </a:custGeom>
          <a:gradFill rotWithShape="1">
            <a:gsLst>
              <a:gs pos="0">
                <a:srgbClr val="0082D2">
                  <a:satMod val="103000"/>
                  <a:lumMod val="102000"/>
                  <a:tint val="94000"/>
                </a:srgbClr>
              </a:gs>
              <a:gs pos="50000">
                <a:srgbClr val="0082D2">
                  <a:satMod val="110000"/>
                  <a:lumMod val="100000"/>
                  <a:shade val="100000"/>
                </a:srgbClr>
              </a:gs>
              <a:gs pos="100000">
                <a:srgbClr val="0082D2">
                  <a:lumMod val="99000"/>
                  <a:satMod val="120000"/>
                  <a:shade val="78000"/>
                </a:srgbClr>
              </a:gs>
            </a:gsLst>
            <a:lin ang="5400000" scaled="0"/>
          </a:gradFill>
          <a:ln w="6350" cap="flat" cmpd="sng" algn="ctr">
            <a:solidFill>
              <a:srgbClr val="0082D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Source Sans Pro"/>
              <a:ea typeface="+mn-ea"/>
              <a:cs typeface="+mn-cs"/>
            </a:endParaRPr>
          </a:p>
        </p:txBody>
      </p:sp>
      <p:sp>
        <p:nvSpPr>
          <p:cNvPr id="17" name="Rectángulo 16">
            <a:extLst>
              <a:ext uri="{FF2B5EF4-FFF2-40B4-BE49-F238E27FC236}">
                <a16:creationId xmlns:a16="http://schemas.microsoft.com/office/drawing/2014/main" id="{9A095779-CD6E-4C13-B5AF-DE3D6013E2D6}"/>
              </a:ext>
            </a:extLst>
          </p:cNvPr>
          <p:cNvSpPr/>
          <p:nvPr/>
        </p:nvSpPr>
        <p:spPr>
          <a:xfrm>
            <a:off x="809363" y="1853652"/>
            <a:ext cx="2358190" cy="1941095"/>
          </a:xfrm>
          <a:prstGeom prst="rect">
            <a:avLst/>
          </a:prstGeom>
          <a:solidFill>
            <a:srgbClr val="05BC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18" name="Rectángulo 17">
            <a:extLst>
              <a:ext uri="{FF2B5EF4-FFF2-40B4-BE49-F238E27FC236}">
                <a16:creationId xmlns:a16="http://schemas.microsoft.com/office/drawing/2014/main" id="{ED50A784-7453-8812-BEDB-EA206A36B9B3}"/>
              </a:ext>
            </a:extLst>
          </p:cNvPr>
          <p:cNvSpPr/>
          <p:nvPr/>
        </p:nvSpPr>
        <p:spPr>
          <a:xfrm>
            <a:off x="4588607" y="1853652"/>
            <a:ext cx="2358190" cy="1941095"/>
          </a:xfrm>
          <a:prstGeom prst="rect">
            <a:avLst/>
          </a:prstGeom>
          <a:solidFill>
            <a:srgbClr val="05BC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19" name="Rectángulo 18">
            <a:extLst>
              <a:ext uri="{FF2B5EF4-FFF2-40B4-BE49-F238E27FC236}">
                <a16:creationId xmlns:a16="http://schemas.microsoft.com/office/drawing/2014/main" id="{48F3F1B7-D361-E31D-BFC2-A1F74415501C}"/>
              </a:ext>
            </a:extLst>
          </p:cNvPr>
          <p:cNvSpPr/>
          <p:nvPr/>
        </p:nvSpPr>
        <p:spPr>
          <a:xfrm>
            <a:off x="8420079" y="1795199"/>
            <a:ext cx="2358190" cy="1941095"/>
          </a:xfrm>
          <a:prstGeom prst="rect">
            <a:avLst/>
          </a:prstGeom>
          <a:solidFill>
            <a:srgbClr val="05BCFF"/>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20" name="CuadroTexto 19">
            <a:extLst>
              <a:ext uri="{FF2B5EF4-FFF2-40B4-BE49-F238E27FC236}">
                <a16:creationId xmlns:a16="http://schemas.microsoft.com/office/drawing/2014/main" id="{88431C60-23AE-F6D9-B069-85F3884799D6}"/>
              </a:ext>
            </a:extLst>
          </p:cNvPr>
          <p:cNvSpPr txBox="1"/>
          <p:nvPr/>
        </p:nvSpPr>
        <p:spPr>
          <a:xfrm>
            <a:off x="1403021" y="2273848"/>
            <a:ext cx="1553227" cy="739036"/>
          </a:xfrm>
          <a:prstGeom prst="rect">
            <a:avLst/>
          </a:prstGeom>
          <a:noFill/>
          <a:ln>
            <a:noFill/>
          </a:ln>
        </p:spPr>
        <p:txBody>
          <a:bodyPr wrap="square" lIns="0" tIns="0" rIns="0" bIns="0" rtlCol="0">
            <a:noAutofit/>
          </a:bodyPr>
          <a:lstStyle/>
          <a:p>
            <a:r>
              <a:rPr lang="es-ES" sz="2400" b="1" dirty="0">
                <a:solidFill>
                  <a:srgbClr val="FFFFFF"/>
                </a:solidFill>
                <a:latin typeface="Source Sans Pro"/>
              </a:rPr>
              <a:t>LEGAL CERTAINTY</a:t>
            </a:r>
            <a:endParaRPr lang="es-MX" sz="2400" b="1" dirty="0">
              <a:solidFill>
                <a:srgbClr val="FFFFFF"/>
              </a:solidFill>
              <a:latin typeface="Source Sans Pro"/>
            </a:endParaRPr>
          </a:p>
        </p:txBody>
      </p:sp>
      <p:sp>
        <p:nvSpPr>
          <p:cNvPr id="48" name="CuadroTexto 47">
            <a:extLst>
              <a:ext uri="{FF2B5EF4-FFF2-40B4-BE49-F238E27FC236}">
                <a16:creationId xmlns:a16="http://schemas.microsoft.com/office/drawing/2014/main" id="{C7714DB7-7308-BD6F-A9DE-4D7BB412740D}"/>
              </a:ext>
            </a:extLst>
          </p:cNvPr>
          <p:cNvSpPr txBox="1"/>
          <p:nvPr/>
        </p:nvSpPr>
        <p:spPr>
          <a:xfrm>
            <a:off x="5007601" y="2322827"/>
            <a:ext cx="1553227" cy="739036"/>
          </a:xfrm>
          <a:prstGeom prst="rect">
            <a:avLst/>
          </a:prstGeom>
          <a:noFill/>
          <a:ln>
            <a:noFill/>
          </a:ln>
        </p:spPr>
        <p:txBody>
          <a:bodyPr wrap="square" lIns="0" tIns="0" rIns="0" bIns="0" rtlCol="0">
            <a:noAutofit/>
          </a:bodyPr>
          <a:lstStyle/>
          <a:p>
            <a:r>
              <a:rPr lang="es-ES" sz="2400" b="1" dirty="0">
                <a:solidFill>
                  <a:srgbClr val="FFFFFF"/>
                </a:solidFill>
                <a:latin typeface="Source Sans Pro"/>
              </a:rPr>
              <a:t>FINANCIAL VIABILITY</a:t>
            </a:r>
            <a:endParaRPr lang="es-MX" sz="2400" b="1" dirty="0">
              <a:solidFill>
                <a:srgbClr val="FFFFFF"/>
              </a:solidFill>
              <a:latin typeface="Source Sans Pro"/>
            </a:endParaRPr>
          </a:p>
        </p:txBody>
      </p:sp>
      <p:sp>
        <p:nvSpPr>
          <p:cNvPr id="49" name="CuadroTexto 48">
            <a:extLst>
              <a:ext uri="{FF2B5EF4-FFF2-40B4-BE49-F238E27FC236}">
                <a16:creationId xmlns:a16="http://schemas.microsoft.com/office/drawing/2014/main" id="{4C423666-7BEF-8F9A-8996-1D7DB5C909C6}"/>
              </a:ext>
            </a:extLst>
          </p:cNvPr>
          <p:cNvSpPr txBox="1"/>
          <p:nvPr/>
        </p:nvSpPr>
        <p:spPr>
          <a:xfrm>
            <a:off x="8688558" y="2344720"/>
            <a:ext cx="2089711" cy="739036"/>
          </a:xfrm>
          <a:prstGeom prst="rect">
            <a:avLst/>
          </a:prstGeom>
          <a:noFill/>
          <a:ln>
            <a:noFill/>
          </a:ln>
        </p:spPr>
        <p:txBody>
          <a:bodyPr wrap="square" lIns="0" tIns="0" rIns="0" bIns="0" rtlCol="0">
            <a:noAutofit/>
          </a:bodyPr>
          <a:lstStyle/>
          <a:p>
            <a:r>
              <a:rPr lang="es-ES" sz="2400" b="1" dirty="0">
                <a:solidFill>
                  <a:srgbClr val="FFFFFF"/>
                </a:solidFill>
                <a:latin typeface="Source Sans Pro"/>
              </a:rPr>
              <a:t>OPERATIONAL EFFICIENCY</a:t>
            </a:r>
            <a:endParaRPr lang="es-MX" sz="2400" b="1" dirty="0">
              <a:solidFill>
                <a:srgbClr val="FFFFFF"/>
              </a:solidFill>
              <a:latin typeface="Source Sans Pro"/>
            </a:endParaRPr>
          </a:p>
        </p:txBody>
      </p:sp>
      <p:sp>
        <p:nvSpPr>
          <p:cNvPr id="50" name="Flecha: a la derecha 49">
            <a:extLst>
              <a:ext uri="{FF2B5EF4-FFF2-40B4-BE49-F238E27FC236}">
                <a16:creationId xmlns:a16="http://schemas.microsoft.com/office/drawing/2014/main" id="{848E5A48-6837-1A14-7929-746C6B717672}"/>
              </a:ext>
            </a:extLst>
          </p:cNvPr>
          <p:cNvSpPr/>
          <p:nvPr/>
        </p:nvSpPr>
        <p:spPr>
          <a:xfrm>
            <a:off x="3433560" y="2518611"/>
            <a:ext cx="889040" cy="494273"/>
          </a:xfrm>
          <a:prstGeom prst="rightArrow">
            <a:avLst/>
          </a:prstGeom>
          <a:gradFill rotWithShape="1">
            <a:gsLst>
              <a:gs pos="0">
                <a:srgbClr val="FFCC00">
                  <a:satMod val="103000"/>
                  <a:lumMod val="102000"/>
                  <a:tint val="94000"/>
                </a:srgbClr>
              </a:gs>
              <a:gs pos="50000">
                <a:srgbClr val="FFCC00">
                  <a:satMod val="110000"/>
                  <a:lumMod val="100000"/>
                  <a:shade val="100000"/>
                </a:srgbClr>
              </a:gs>
              <a:gs pos="100000">
                <a:srgbClr val="FFCC00">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51" name="Flecha: a la derecha 50">
            <a:extLst>
              <a:ext uri="{FF2B5EF4-FFF2-40B4-BE49-F238E27FC236}">
                <a16:creationId xmlns:a16="http://schemas.microsoft.com/office/drawing/2014/main" id="{A76EBCA7-EAAF-CD5E-FAC8-C91B07A91C90}"/>
              </a:ext>
            </a:extLst>
          </p:cNvPr>
          <p:cNvSpPr/>
          <p:nvPr/>
        </p:nvSpPr>
        <p:spPr>
          <a:xfrm>
            <a:off x="7316173" y="2567590"/>
            <a:ext cx="889040" cy="494273"/>
          </a:xfrm>
          <a:prstGeom prst="rightArrow">
            <a:avLst/>
          </a:prstGeom>
          <a:gradFill rotWithShape="1">
            <a:gsLst>
              <a:gs pos="0">
                <a:srgbClr val="FFCC00">
                  <a:satMod val="103000"/>
                  <a:lumMod val="102000"/>
                  <a:tint val="94000"/>
                </a:srgbClr>
              </a:gs>
              <a:gs pos="50000">
                <a:srgbClr val="FFCC00">
                  <a:satMod val="110000"/>
                  <a:lumMod val="100000"/>
                  <a:shade val="100000"/>
                </a:srgbClr>
              </a:gs>
              <a:gs pos="100000">
                <a:srgbClr val="FFCC00">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MX"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52" name="Dodecágono 51">
            <a:extLst>
              <a:ext uri="{FF2B5EF4-FFF2-40B4-BE49-F238E27FC236}">
                <a16:creationId xmlns:a16="http://schemas.microsoft.com/office/drawing/2014/main" id="{B4FFB37D-831E-EED3-056B-4F70D06A5AAF}"/>
              </a:ext>
            </a:extLst>
          </p:cNvPr>
          <p:cNvSpPr/>
          <p:nvPr/>
        </p:nvSpPr>
        <p:spPr>
          <a:xfrm>
            <a:off x="459279" y="1461012"/>
            <a:ext cx="757172" cy="739036"/>
          </a:xfrm>
          <a:prstGeom prst="dodecagon">
            <a:avLst/>
          </a:prstGeom>
          <a:solidFill>
            <a:srgbClr val="FFCC00"/>
          </a:solidFill>
          <a:ln w="19050" cap="flat" cmpd="sng" algn="ctr">
            <a:solidFill>
              <a:srgbClr val="FFFF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rgbClr val="FFFFFF"/>
                </a:solidFill>
                <a:effectLst/>
                <a:uLnTx/>
                <a:uFillTx/>
                <a:latin typeface="Source Sans Pro"/>
                <a:ea typeface="+mn-ea"/>
                <a:cs typeface="+mn-cs"/>
              </a:rPr>
              <a:t>1</a:t>
            </a:r>
            <a:endParaRPr kumimoji="0" lang="es-MX" sz="2800" b="1" i="0" u="none" strike="noStrike" kern="0" cap="none" spc="0" normalizeH="0" baseline="0" noProof="0" dirty="0">
              <a:ln>
                <a:noFill/>
              </a:ln>
              <a:solidFill>
                <a:srgbClr val="FFFFFF"/>
              </a:solidFill>
              <a:effectLst/>
              <a:uLnTx/>
              <a:uFillTx/>
              <a:latin typeface="Source Sans Pro"/>
              <a:ea typeface="+mn-ea"/>
              <a:cs typeface="+mn-cs"/>
            </a:endParaRPr>
          </a:p>
        </p:txBody>
      </p:sp>
      <p:sp>
        <p:nvSpPr>
          <p:cNvPr id="53" name="Dodecágono 52">
            <a:extLst>
              <a:ext uri="{FF2B5EF4-FFF2-40B4-BE49-F238E27FC236}">
                <a16:creationId xmlns:a16="http://schemas.microsoft.com/office/drawing/2014/main" id="{0F52EE2F-38BC-30F2-A4E2-B600416962F2}"/>
              </a:ext>
            </a:extLst>
          </p:cNvPr>
          <p:cNvSpPr/>
          <p:nvPr/>
        </p:nvSpPr>
        <p:spPr>
          <a:xfrm>
            <a:off x="4198779" y="1496924"/>
            <a:ext cx="757172" cy="739036"/>
          </a:xfrm>
          <a:prstGeom prst="dodecagon">
            <a:avLst/>
          </a:prstGeom>
          <a:solidFill>
            <a:srgbClr val="FFCC00"/>
          </a:solidFill>
          <a:ln w="19050" cap="flat" cmpd="sng" algn="ctr">
            <a:solidFill>
              <a:srgbClr val="FFFF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rgbClr val="FFFFFF"/>
                </a:solidFill>
                <a:effectLst/>
                <a:uLnTx/>
                <a:uFillTx/>
                <a:latin typeface="Source Sans Pro"/>
                <a:ea typeface="+mn-ea"/>
                <a:cs typeface="+mn-cs"/>
              </a:rPr>
              <a:t>2</a:t>
            </a:r>
            <a:endParaRPr kumimoji="0" lang="es-MX" sz="2800" b="1" i="0" u="none" strike="noStrike" kern="0" cap="none" spc="0" normalizeH="0" baseline="0" noProof="0" dirty="0">
              <a:ln>
                <a:noFill/>
              </a:ln>
              <a:solidFill>
                <a:srgbClr val="FFFFFF"/>
              </a:solidFill>
              <a:effectLst/>
              <a:uLnTx/>
              <a:uFillTx/>
              <a:latin typeface="Source Sans Pro"/>
              <a:ea typeface="+mn-ea"/>
              <a:cs typeface="+mn-cs"/>
            </a:endParaRPr>
          </a:p>
        </p:txBody>
      </p:sp>
      <p:sp>
        <p:nvSpPr>
          <p:cNvPr id="54" name="Dodecágono 53">
            <a:extLst>
              <a:ext uri="{FF2B5EF4-FFF2-40B4-BE49-F238E27FC236}">
                <a16:creationId xmlns:a16="http://schemas.microsoft.com/office/drawing/2014/main" id="{A7A14ACA-8BCD-C7AD-E4B1-7199F59FA626}"/>
              </a:ext>
            </a:extLst>
          </p:cNvPr>
          <p:cNvSpPr/>
          <p:nvPr/>
        </p:nvSpPr>
        <p:spPr>
          <a:xfrm>
            <a:off x="8111623" y="1394990"/>
            <a:ext cx="757172" cy="739036"/>
          </a:xfrm>
          <a:prstGeom prst="dodecagon">
            <a:avLst/>
          </a:prstGeom>
          <a:solidFill>
            <a:srgbClr val="FFCC00"/>
          </a:solidFill>
          <a:ln w="19050" cap="flat" cmpd="sng" algn="ctr">
            <a:solidFill>
              <a:srgbClr val="FFFFFF"/>
            </a:solid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 sz="2800" b="1" i="0" u="none" strike="noStrike" kern="0" cap="none" spc="0" normalizeH="0" baseline="0" noProof="0" dirty="0">
                <a:ln>
                  <a:noFill/>
                </a:ln>
                <a:solidFill>
                  <a:srgbClr val="FFFFFF"/>
                </a:solidFill>
                <a:effectLst/>
                <a:uLnTx/>
                <a:uFillTx/>
                <a:latin typeface="Source Sans Pro"/>
                <a:ea typeface="+mn-ea"/>
                <a:cs typeface="+mn-cs"/>
              </a:rPr>
              <a:t>3</a:t>
            </a:r>
            <a:endParaRPr kumimoji="0" lang="es-MX" sz="2800" b="1" i="0" u="none" strike="noStrike" kern="0" cap="none" spc="0" normalizeH="0" baseline="0" noProof="0" dirty="0">
              <a:ln>
                <a:noFill/>
              </a:ln>
              <a:solidFill>
                <a:srgbClr val="FFFFFF"/>
              </a:solidFill>
              <a:effectLst/>
              <a:uLnTx/>
              <a:uFillTx/>
              <a:latin typeface="Source Sans Pro"/>
              <a:ea typeface="+mn-ea"/>
              <a:cs typeface="+mn-cs"/>
            </a:endParaRPr>
          </a:p>
        </p:txBody>
      </p:sp>
      <p:sp>
        <p:nvSpPr>
          <p:cNvPr id="55" name="CuadroTexto 54">
            <a:extLst>
              <a:ext uri="{FF2B5EF4-FFF2-40B4-BE49-F238E27FC236}">
                <a16:creationId xmlns:a16="http://schemas.microsoft.com/office/drawing/2014/main" id="{75D23419-FF1C-871D-C79C-D4A8CB75EBCA}"/>
              </a:ext>
            </a:extLst>
          </p:cNvPr>
          <p:cNvSpPr txBox="1"/>
          <p:nvPr/>
        </p:nvSpPr>
        <p:spPr>
          <a:xfrm>
            <a:off x="297713" y="415669"/>
            <a:ext cx="8695844" cy="478952"/>
          </a:xfrm>
          <a:prstGeom prst="rect">
            <a:avLst/>
          </a:prstGeom>
          <a:noFill/>
          <a:ln>
            <a:noFill/>
          </a:ln>
        </p:spPr>
        <p:txBody>
          <a:bodyPr wrap="square" lIns="0" tIns="0" rIns="0" bIns="0" rtlCol="0">
            <a:noAutofit/>
          </a:bodyPr>
          <a:lstStyle/>
          <a:p>
            <a:pPr algn="l"/>
            <a:r>
              <a:rPr lang="es-ES" sz="3200" b="1" dirty="0">
                <a:solidFill>
                  <a:schemeClr val="accent4">
                    <a:lumMod val="60000"/>
                    <a:lumOff val="40000"/>
                  </a:schemeClr>
                </a:solidFill>
              </a:rPr>
              <a:t>INSTITUTIONAL CHALLENGES… IN THAT ORDER</a:t>
            </a:r>
            <a:endParaRPr lang="es-MX" sz="3200" b="1" dirty="0">
              <a:solidFill>
                <a:schemeClr val="accent4">
                  <a:lumMod val="60000"/>
                  <a:lumOff val="40000"/>
                </a:schemeClr>
              </a:solidFill>
            </a:endParaRPr>
          </a:p>
        </p:txBody>
      </p:sp>
    </p:spTree>
    <p:extLst>
      <p:ext uri="{BB962C8B-B14F-4D97-AF65-F5344CB8AC3E}">
        <p14:creationId xmlns:p14="http://schemas.microsoft.com/office/powerpoint/2010/main" val="2188474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Título 1"/>
          <p:cNvSpPr txBox="1">
            <a:spLocks/>
          </p:cNvSpPr>
          <p:nvPr/>
        </p:nvSpPr>
        <p:spPr>
          <a:xfrm>
            <a:off x="759154" y="252760"/>
            <a:ext cx="9298432"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a:ln>
                  <a:noFill/>
                </a:ln>
                <a:solidFill>
                  <a:schemeClr val="accent4">
                    <a:lumMod val="60000"/>
                    <a:lumOff val="40000"/>
                  </a:schemeClr>
                </a:solidFill>
                <a:effectLst/>
                <a:uLnTx/>
                <a:uFillTx/>
                <a:latin typeface="+mn-lt"/>
                <a:ea typeface="Tahoma" panose="020B0604030504040204" pitchFamily="34" charset="0"/>
                <a:cs typeface="Helvetica" panose="020B0604020202020204" pitchFamily="34" charset="0"/>
              </a:rPr>
              <a:t>VA Y VEN SYSTEM </a:t>
            </a:r>
            <a:endParaRPr kumimoji="0" lang="es-MX" sz="4800" b="1" i="0" u="none" strike="noStrike" kern="1200" cap="none" spc="0" normalizeH="0" baseline="0" noProof="0" dirty="0">
              <a:ln>
                <a:noFill/>
              </a:ln>
              <a:solidFill>
                <a:schemeClr val="accent4">
                  <a:lumMod val="60000"/>
                  <a:lumOff val="40000"/>
                </a:schemeClr>
              </a:solidFill>
              <a:effectLst/>
              <a:uLnTx/>
              <a:uFillTx/>
              <a:latin typeface="+mn-lt"/>
              <a:ea typeface="Tahoma" panose="020B0604030504040204" pitchFamily="34" charset="0"/>
              <a:cs typeface="Helvetica" panose="020B0604020202020204" pitchFamily="34" charset="0"/>
            </a:endParaRPr>
          </a:p>
        </p:txBody>
      </p:sp>
      <p:sp>
        <p:nvSpPr>
          <p:cNvPr id="94" name="Título 1"/>
          <p:cNvSpPr txBox="1">
            <a:spLocks/>
          </p:cNvSpPr>
          <p:nvPr/>
        </p:nvSpPr>
        <p:spPr>
          <a:xfrm>
            <a:off x="1918217" y="4646017"/>
            <a:ext cx="7772400" cy="128716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3200" b="1"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Helvetica" panose="020B0604020202020204" pitchFamily="34" charset="0"/>
              </a:rPr>
              <a:t>QUALITY VA Y VEN</a:t>
            </a:r>
            <a:endParaRPr kumimoji="0" lang="es-MX" sz="3200" b="1" i="0" u="none" strike="noStrike" kern="1200" cap="none" spc="0" normalizeH="0" baseline="0" noProof="0" dirty="0">
              <a:ln>
                <a:noFill/>
              </a:ln>
              <a:solidFill>
                <a:srgbClr val="0070C0"/>
              </a:solidFill>
              <a:effectLst/>
              <a:uLnTx/>
              <a:uFillTx/>
              <a:latin typeface="Source Sans Pro" panose="020B0503030403020204" pitchFamily="34" charset="0"/>
              <a:ea typeface="Source Sans Pro" panose="020B0503030403020204" pitchFamily="34" charset="0"/>
              <a:cs typeface="Helvetica" panose="020B0604020202020204" pitchFamily="34" charset="0"/>
            </a:endParaRPr>
          </a:p>
        </p:txBody>
      </p:sp>
      <p:sp>
        <p:nvSpPr>
          <p:cNvPr id="95" name="Abrir llave 94"/>
          <p:cNvSpPr/>
          <p:nvPr/>
        </p:nvSpPr>
        <p:spPr>
          <a:xfrm rot="-5400000">
            <a:off x="5725581" y="-518070"/>
            <a:ext cx="484053" cy="8920023"/>
          </a:xfrm>
          <a:prstGeom prst="leftBrace">
            <a:avLst>
              <a:gd name="adj1" fmla="val 44478"/>
              <a:gd name="adj2" fmla="val 49881"/>
            </a:avLst>
          </a:prstGeom>
          <a:noFill/>
          <a:ln w="57150">
            <a:gradFill>
              <a:gsLst>
                <a:gs pos="0">
                  <a:schemeClr val="accent6">
                    <a:lumMod val="50000"/>
                  </a:schemeClr>
                </a:gs>
                <a:gs pos="74000">
                  <a:schemeClr val="accent6">
                    <a:lumMod val="60000"/>
                    <a:lumOff val="40000"/>
                  </a:schemeClr>
                </a:gs>
                <a:gs pos="83000">
                  <a:schemeClr val="accent6">
                    <a:lumMod val="40000"/>
                    <a:lumOff val="60000"/>
                  </a:schemeClr>
                </a:gs>
                <a:gs pos="100000">
                  <a:schemeClr val="accent6">
                    <a:lumMod val="50000"/>
                  </a:schemeClr>
                </a:gs>
              </a:gsLst>
              <a:lin ang="5400000" scaled="1"/>
            </a:gradFill>
          </a:ln>
        </p:spPr>
        <p:style>
          <a:lnRef idx="3">
            <a:schemeClr val="accent6"/>
          </a:lnRef>
          <a:fillRef idx="0">
            <a:schemeClr val="accent6"/>
          </a:fillRef>
          <a:effectRef idx="2">
            <a:schemeClr val="accent6"/>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1800" b="1" i="0" u="none" strike="noStrike" kern="0" cap="none" spc="0" normalizeH="0" baseline="0" noProof="0">
              <a:ln>
                <a:noFill/>
              </a:ln>
              <a:solidFill>
                <a:prstClr val="black"/>
              </a:solidFill>
              <a:effectLst/>
              <a:uLnTx/>
              <a:uFillTx/>
              <a:latin typeface="+mj-lt"/>
              <a:ea typeface="+mn-ea"/>
              <a:cs typeface="Helvetica" panose="020B0604020202020204" pitchFamily="34" charset="0"/>
            </a:endParaRPr>
          </a:p>
        </p:txBody>
      </p:sp>
      <p:grpSp>
        <p:nvGrpSpPr>
          <p:cNvPr id="10" name="Grupo 9">
            <a:extLst>
              <a:ext uri="{FF2B5EF4-FFF2-40B4-BE49-F238E27FC236}">
                <a16:creationId xmlns:a16="http://schemas.microsoft.com/office/drawing/2014/main" id="{F988ED09-D084-F05D-482E-74B2067EF4E5}"/>
              </a:ext>
            </a:extLst>
          </p:cNvPr>
          <p:cNvGrpSpPr/>
          <p:nvPr/>
        </p:nvGrpSpPr>
        <p:grpSpPr>
          <a:xfrm>
            <a:off x="7783940" y="1641081"/>
            <a:ext cx="3505200" cy="2136964"/>
            <a:chOff x="4212690" y="2279237"/>
            <a:chExt cx="3505200" cy="2136964"/>
          </a:xfrm>
        </p:grpSpPr>
        <p:grpSp>
          <p:nvGrpSpPr>
            <p:cNvPr id="99" name="Grupo 98">
              <a:extLst>
                <a:ext uri="{FF2B5EF4-FFF2-40B4-BE49-F238E27FC236}">
                  <a16:creationId xmlns:a16="http://schemas.microsoft.com/office/drawing/2014/main" id="{918B1600-7516-EFFC-4D4A-1B661F34EDC5}"/>
                </a:ext>
              </a:extLst>
            </p:cNvPr>
            <p:cNvGrpSpPr/>
            <p:nvPr/>
          </p:nvGrpSpPr>
          <p:grpSpPr>
            <a:xfrm>
              <a:off x="4212690" y="2543849"/>
              <a:ext cx="3505200" cy="1872352"/>
              <a:chOff x="4233153" y="1509479"/>
              <a:chExt cx="3505200" cy="1872352"/>
            </a:xfrm>
          </p:grpSpPr>
          <p:sp>
            <p:nvSpPr>
              <p:cNvPr id="100" name="Título 1"/>
              <p:cNvSpPr txBox="1">
                <a:spLocks/>
              </p:cNvSpPr>
              <p:nvPr/>
            </p:nvSpPr>
            <p:spPr>
              <a:xfrm>
                <a:off x="4233153" y="2056268"/>
                <a:ext cx="35052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400" b="1" i="0" u="none" strike="noStrike" kern="1200" cap="none" spc="0" normalizeH="0" baseline="0" noProof="0" dirty="0" err="1">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Financial</a:t>
                </a:r>
                <a:r>
                  <a:rPr kumimoji="0" lang="es-ES" sz="2400" b="1" i="0" u="none" strike="noStrike" kern="1200" cap="none" spc="0" normalizeH="0" baseline="0" noProof="0" dirty="0">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 </a:t>
                </a:r>
                <a:r>
                  <a:rPr kumimoji="0" lang="es-ES" sz="2400" b="1" i="0" u="none" strike="noStrike" kern="1200" cap="none" spc="0" normalizeH="0" baseline="0" noProof="0" dirty="0" err="1">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strength</a:t>
                </a:r>
                <a:endParaRPr kumimoji="0" lang="es-MX" sz="2400" b="1" i="0" u="none" strike="noStrike" kern="1200" cap="none" spc="0" normalizeH="0" baseline="0" noProof="0" dirty="0">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endParaRPr>
              </a:p>
            </p:txBody>
          </p:sp>
          <p:pic>
            <p:nvPicPr>
              <p:cNvPr id="101" name="Picture 23">
                <a:extLst>
                  <a:ext uri="{FF2B5EF4-FFF2-40B4-BE49-F238E27FC236}">
                    <a16:creationId xmlns:a16="http://schemas.microsoft.com/office/drawing/2014/main" id="{BD6EEC44-28F7-7DF2-8CE4-C35F14F901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55167" y="1509479"/>
                <a:ext cx="1061172" cy="1061172"/>
              </a:xfrm>
              <a:prstGeom prst="rect">
                <a:avLst/>
              </a:prstGeom>
            </p:spPr>
          </p:pic>
        </p:grpSp>
        <p:pic>
          <p:nvPicPr>
            <p:cNvPr id="14" name="Picture 13">
              <a:extLst>
                <a:ext uri="{FF2B5EF4-FFF2-40B4-BE49-F238E27FC236}">
                  <a16:creationId xmlns:a16="http://schemas.microsoft.com/office/drawing/2014/main" id="{23A0DB77-C240-E374-41D1-9AF7D80F43C1}"/>
                </a:ext>
              </a:extLst>
            </p:cNvPr>
            <p:cNvPicPr>
              <a:picLocks noChangeAspect="1"/>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5460291" y="2279237"/>
              <a:ext cx="1091766" cy="1091766"/>
            </a:xfrm>
            <a:prstGeom prst="rect">
              <a:avLst/>
            </a:prstGeom>
          </p:spPr>
        </p:pic>
      </p:grpSp>
      <p:grpSp>
        <p:nvGrpSpPr>
          <p:cNvPr id="12" name="Grupo 11">
            <a:extLst>
              <a:ext uri="{FF2B5EF4-FFF2-40B4-BE49-F238E27FC236}">
                <a16:creationId xmlns:a16="http://schemas.microsoft.com/office/drawing/2014/main" id="{0B4021C9-69C1-CB74-7145-41BF76419800}"/>
              </a:ext>
            </a:extLst>
          </p:cNvPr>
          <p:cNvGrpSpPr/>
          <p:nvPr/>
        </p:nvGrpSpPr>
        <p:grpSpPr>
          <a:xfrm>
            <a:off x="4477520" y="1648912"/>
            <a:ext cx="3505200" cy="2152359"/>
            <a:chOff x="8725366" y="2240453"/>
            <a:chExt cx="3505200" cy="2152359"/>
          </a:xfrm>
        </p:grpSpPr>
        <p:sp>
          <p:nvSpPr>
            <p:cNvPr id="103" name="Título 1"/>
            <p:cNvSpPr txBox="1">
              <a:spLocks/>
            </p:cNvSpPr>
            <p:nvPr/>
          </p:nvSpPr>
          <p:spPr>
            <a:xfrm>
              <a:off x="8725366" y="3067249"/>
              <a:ext cx="35052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000" b="1" i="0" u="none" strike="noStrike" kern="1200" cap="none" spc="0" normalizeH="0" baseline="0" noProof="0" dirty="0" err="1">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Operational</a:t>
              </a:r>
              <a:r>
                <a:rPr kumimoji="0" lang="es-ES" sz="2000" b="1" i="0" u="none" strike="noStrike" kern="1200" cap="none" spc="0" normalizeH="0" baseline="0" noProof="0" dirty="0">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 </a:t>
              </a:r>
              <a:r>
                <a:rPr kumimoji="0" lang="es-ES" sz="2000" b="1" i="0" u="none" strike="noStrike" kern="1200" cap="none" spc="0" normalizeH="0" baseline="0" noProof="0" dirty="0" err="1">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strength</a:t>
              </a:r>
              <a:endParaRPr kumimoji="0" lang="es-MX" sz="2000" b="1" i="0" u="none" strike="noStrike" kern="1200" cap="none" spc="0" normalizeH="0" baseline="0" noProof="0" dirty="0">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endParaRPr>
            </a:p>
          </p:txBody>
        </p:sp>
        <p:pic>
          <p:nvPicPr>
            <p:cNvPr id="16" name="Picture 15">
              <a:extLst>
                <a:ext uri="{FF2B5EF4-FFF2-40B4-BE49-F238E27FC236}">
                  <a16:creationId xmlns:a16="http://schemas.microsoft.com/office/drawing/2014/main" id="{896B690C-32C7-1921-A8F8-0C7D65021F57}"/>
                </a:ext>
              </a:extLst>
            </p:cNvPr>
            <p:cNvPicPr>
              <a:picLocks noChangeAspect="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9945496" y="2240453"/>
              <a:ext cx="1140143" cy="1140143"/>
            </a:xfrm>
            <a:prstGeom prst="rect">
              <a:avLst/>
            </a:prstGeom>
          </p:spPr>
        </p:pic>
      </p:grpSp>
      <p:grpSp>
        <p:nvGrpSpPr>
          <p:cNvPr id="6" name="Grupo 5">
            <a:extLst>
              <a:ext uri="{FF2B5EF4-FFF2-40B4-BE49-F238E27FC236}">
                <a16:creationId xmlns:a16="http://schemas.microsoft.com/office/drawing/2014/main" id="{79B3DB79-D582-885C-0771-FB7F72C749FA}"/>
              </a:ext>
            </a:extLst>
          </p:cNvPr>
          <p:cNvGrpSpPr/>
          <p:nvPr/>
        </p:nvGrpSpPr>
        <p:grpSpPr>
          <a:xfrm>
            <a:off x="253385" y="1615532"/>
            <a:ext cx="4154677" cy="2227213"/>
            <a:chOff x="223247" y="2211023"/>
            <a:chExt cx="4154677" cy="2227213"/>
          </a:xfrm>
        </p:grpSpPr>
        <p:sp>
          <p:nvSpPr>
            <p:cNvPr id="97" name="Título 1"/>
            <p:cNvSpPr txBox="1">
              <a:spLocks/>
            </p:cNvSpPr>
            <p:nvPr/>
          </p:nvSpPr>
          <p:spPr>
            <a:xfrm>
              <a:off x="223247" y="3112673"/>
              <a:ext cx="4154677"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000" b="1" i="0" u="none" strike="noStrike" kern="1200" cap="none" spc="0" normalizeH="0" baseline="0" noProof="0" dirty="0" err="1">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Institutional</a:t>
              </a:r>
              <a:r>
                <a:rPr kumimoji="0" lang="es-ES" sz="2000" b="1" i="0" u="none" strike="noStrike" kern="1200" cap="none" spc="0" normalizeH="0" baseline="0" noProof="0" dirty="0">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 legal </a:t>
              </a:r>
              <a:r>
                <a:rPr kumimoji="0" lang="es-ES" sz="2000" b="1" i="0" u="none" strike="noStrike" kern="1200" cap="none" spc="0" normalizeH="0" baseline="0" noProof="0" dirty="0" err="1">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rPr>
                <a:t>certainty</a:t>
              </a:r>
              <a:endParaRPr kumimoji="0" lang="es-MX" sz="2000" b="1" i="0" u="none" strike="noStrike" kern="1200" cap="none" spc="0" normalizeH="0" baseline="0" noProof="0" dirty="0">
                <a:ln>
                  <a:noFill/>
                </a:ln>
                <a:solidFill>
                  <a:srgbClr val="211C57"/>
                </a:solidFill>
                <a:effectLst/>
                <a:uLnTx/>
                <a:uFillTx/>
                <a:latin typeface="Source Sans Pro" panose="020B0503030403020204" pitchFamily="34" charset="0"/>
                <a:ea typeface="Source Sans Pro" panose="020B0503030403020204" pitchFamily="34" charset="0"/>
                <a:cs typeface="Helvetica" panose="020B0604020202020204" pitchFamily="34" charset="0"/>
              </a:endParaRPr>
            </a:p>
          </p:txBody>
        </p:sp>
        <p:pic>
          <p:nvPicPr>
            <p:cNvPr id="18" name="Picture 17">
              <a:extLst>
                <a:ext uri="{FF2B5EF4-FFF2-40B4-BE49-F238E27FC236}">
                  <a16:creationId xmlns:a16="http://schemas.microsoft.com/office/drawing/2014/main" id="{B6228F44-7B48-AA6A-B460-76A8F4DCDD4B}"/>
                </a:ext>
              </a:extLst>
            </p:cNvPr>
            <p:cNvPicPr>
              <a:picLocks noChangeAspect="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1696169" y="2211023"/>
              <a:ext cx="1287164" cy="1287164"/>
            </a:xfrm>
            <a:prstGeom prst="rect">
              <a:avLst/>
            </a:prstGeom>
          </p:spPr>
        </p:pic>
      </p:grpSp>
      <p:grpSp>
        <p:nvGrpSpPr>
          <p:cNvPr id="20" name="Grupo 19">
            <a:extLst>
              <a:ext uri="{FF2B5EF4-FFF2-40B4-BE49-F238E27FC236}">
                <a16:creationId xmlns:a16="http://schemas.microsoft.com/office/drawing/2014/main" id="{738F8E00-6523-E51F-A582-5DBB60471602}"/>
              </a:ext>
            </a:extLst>
          </p:cNvPr>
          <p:cNvGrpSpPr/>
          <p:nvPr/>
        </p:nvGrpSpPr>
        <p:grpSpPr>
          <a:xfrm>
            <a:off x="812258" y="4155215"/>
            <a:ext cx="10165432" cy="706184"/>
            <a:chOff x="816122" y="4608942"/>
            <a:chExt cx="10165432" cy="706184"/>
          </a:xfrm>
        </p:grpSpPr>
        <p:sp>
          <p:nvSpPr>
            <p:cNvPr id="5" name="Rectángulo 32">
              <a:extLst>
                <a:ext uri="{FF2B5EF4-FFF2-40B4-BE49-F238E27FC236}">
                  <a16:creationId xmlns:a16="http://schemas.microsoft.com/office/drawing/2014/main" id="{12E5EA12-1AAF-D048-FA92-0303DE6D5D76}"/>
                </a:ext>
              </a:extLst>
            </p:cNvPr>
            <p:cNvSpPr/>
            <p:nvPr/>
          </p:nvSpPr>
          <p:spPr>
            <a:xfrm>
              <a:off x="816122" y="4657218"/>
              <a:ext cx="1964049" cy="442674"/>
            </a:xfrm>
            <a:prstGeom prst="roundRect">
              <a:avLst/>
            </a:prstGeom>
            <a:gradFill flip="none" rotWithShape="1">
              <a:gsLst>
                <a:gs pos="0">
                  <a:srgbClr val="D9D9D9"/>
                </a:gs>
                <a:gs pos="74000">
                  <a:schemeClr val="bg1">
                    <a:lumMod val="85000"/>
                  </a:schemeClr>
                </a:gs>
                <a:gs pos="83000">
                  <a:schemeClr val="bg1">
                    <a:lumMod val="85000"/>
                  </a:schemeClr>
                </a:gs>
                <a:gs pos="100000">
                  <a:schemeClr val="bg1">
                    <a:lumMod val="95000"/>
                    <a:alpha val="2522"/>
                  </a:schemeClr>
                </a:gs>
              </a:gsLst>
              <a:path path="rect">
                <a:fillToRect l="100000" t="100000"/>
              </a:path>
              <a:tileRect r="-100000" b="-100000"/>
            </a:gradFill>
            <a:ln w="28575">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2000" b="1" i="0" u="none" strike="noStrike" kern="1200" cap="none" spc="0" normalizeH="0" baseline="0" noProof="0" dirty="0">
                <a:ln>
                  <a:noFill/>
                </a:ln>
                <a:solidFill>
                  <a:prstClr val="white"/>
                </a:solidFill>
                <a:effectLst/>
                <a:uLnTx/>
                <a:uFillTx/>
                <a:latin typeface="+mj-lt"/>
                <a:ea typeface="+mn-ea"/>
                <a:cs typeface="Helvetica" panose="020B0604020202020204" pitchFamily="34" charset="0"/>
              </a:endParaRPr>
            </a:p>
          </p:txBody>
        </p:sp>
        <p:sp>
          <p:nvSpPr>
            <p:cNvPr id="7" name="Título 1">
              <a:extLst>
                <a:ext uri="{FF2B5EF4-FFF2-40B4-BE49-F238E27FC236}">
                  <a16:creationId xmlns:a16="http://schemas.microsoft.com/office/drawing/2014/main" id="{78D25B7E-DF94-7892-BAA0-02F50BAD0C2C}"/>
                </a:ext>
              </a:extLst>
            </p:cNvPr>
            <p:cNvSpPr txBox="1">
              <a:spLocks/>
            </p:cNvSpPr>
            <p:nvPr/>
          </p:nvSpPr>
          <p:spPr>
            <a:xfrm>
              <a:off x="937661" y="4608942"/>
              <a:ext cx="1821701" cy="65128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s-ES" sz="2400" b="1" dirty="0">
                  <a:solidFill>
                    <a:srgbClr val="70AD47"/>
                  </a:solidFill>
                  <a:latin typeface="Source Sans Pro" panose="020B0503030403020204" pitchFamily="34" charset="0"/>
                  <a:ea typeface="Source Sans Pro" panose="020B0503030403020204" pitchFamily="34" charset="0"/>
                  <a:cs typeface="Helvetica" panose="020B0604020202020204" pitchFamily="34" charset="0"/>
                </a:rPr>
                <a:t>KIND</a:t>
              </a:r>
              <a:endParaRPr kumimoji="0" lang="es-MX" sz="2400" b="1" i="0" u="none" strike="noStrike" kern="1200" cap="none" spc="0" normalizeH="0" baseline="0" noProof="0" dirty="0">
                <a:ln>
                  <a:noFill/>
                </a:ln>
                <a:solidFill>
                  <a:srgbClr val="70AD47"/>
                </a:solidFill>
                <a:effectLst/>
                <a:uLnTx/>
                <a:uFillTx/>
                <a:latin typeface="Source Sans Pro" panose="020B0503030403020204" pitchFamily="34" charset="0"/>
                <a:ea typeface="Source Sans Pro" panose="020B0503030403020204" pitchFamily="34" charset="0"/>
                <a:cs typeface="Helvetica" panose="020B0604020202020204" pitchFamily="34" charset="0"/>
              </a:endParaRPr>
            </a:p>
          </p:txBody>
        </p:sp>
        <p:sp>
          <p:nvSpPr>
            <p:cNvPr id="8" name="Rectángulo 32">
              <a:extLst>
                <a:ext uri="{FF2B5EF4-FFF2-40B4-BE49-F238E27FC236}">
                  <a16:creationId xmlns:a16="http://schemas.microsoft.com/office/drawing/2014/main" id="{0352DAFA-C6C6-9914-AFAE-681E292B2D72}"/>
                </a:ext>
              </a:extLst>
            </p:cNvPr>
            <p:cNvSpPr/>
            <p:nvPr/>
          </p:nvSpPr>
          <p:spPr>
            <a:xfrm>
              <a:off x="3613027" y="4696350"/>
              <a:ext cx="2051978" cy="442674"/>
            </a:xfrm>
            <a:prstGeom prst="roundRect">
              <a:avLst/>
            </a:prstGeom>
            <a:gradFill flip="none" rotWithShape="1">
              <a:gsLst>
                <a:gs pos="0">
                  <a:srgbClr val="D9D9D9"/>
                </a:gs>
                <a:gs pos="74000">
                  <a:schemeClr val="bg1">
                    <a:lumMod val="85000"/>
                  </a:schemeClr>
                </a:gs>
                <a:gs pos="83000">
                  <a:schemeClr val="bg1">
                    <a:lumMod val="85000"/>
                  </a:schemeClr>
                </a:gs>
                <a:gs pos="100000">
                  <a:schemeClr val="bg1">
                    <a:lumMod val="95000"/>
                    <a:alpha val="2522"/>
                  </a:schemeClr>
                </a:gs>
              </a:gsLst>
              <a:path path="rect">
                <a:fillToRect l="100000" t="100000"/>
              </a:path>
              <a:tileRect r="-100000" b="-100000"/>
            </a:gradFill>
            <a:ln w="28575">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2000" b="1" i="0" u="none" strike="noStrike" kern="1200" cap="none" spc="0" normalizeH="0" baseline="0" noProof="0" dirty="0">
                <a:ln>
                  <a:noFill/>
                </a:ln>
                <a:solidFill>
                  <a:prstClr val="white"/>
                </a:solidFill>
                <a:effectLst/>
                <a:uLnTx/>
                <a:uFillTx/>
                <a:latin typeface="+mj-lt"/>
                <a:ea typeface="+mn-ea"/>
                <a:cs typeface="Helvetica" panose="020B0604020202020204" pitchFamily="34" charset="0"/>
              </a:endParaRPr>
            </a:p>
          </p:txBody>
        </p:sp>
        <p:sp>
          <p:nvSpPr>
            <p:cNvPr id="9" name="Título 1">
              <a:extLst>
                <a:ext uri="{FF2B5EF4-FFF2-40B4-BE49-F238E27FC236}">
                  <a16:creationId xmlns:a16="http://schemas.microsoft.com/office/drawing/2014/main" id="{C144C724-2EED-7656-AD53-68F6050F3B9C}"/>
                </a:ext>
              </a:extLst>
            </p:cNvPr>
            <p:cNvSpPr txBox="1">
              <a:spLocks/>
            </p:cNvSpPr>
            <p:nvPr/>
          </p:nvSpPr>
          <p:spPr>
            <a:xfrm>
              <a:off x="3803716" y="4694093"/>
              <a:ext cx="1859965" cy="51685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400" b="1" i="0" u="none" strike="noStrike" kern="1200" cap="none" spc="0" normalizeH="0" baseline="0" noProof="0" dirty="0">
                  <a:ln>
                    <a:noFill/>
                  </a:ln>
                  <a:solidFill>
                    <a:srgbClr val="70AD47"/>
                  </a:solidFill>
                  <a:effectLst/>
                  <a:uLnTx/>
                  <a:uFillTx/>
                  <a:latin typeface="Source Sans Pro" panose="020B0503030403020204" pitchFamily="34" charset="0"/>
                  <a:ea typeface="Source Sans Pro" panose="020B0503030403020204" pitchFamily="34" charset="0"/>
                  <a:cs typeface="Helvetica" panose="020B0604020202020204" pitchFamily="34" charset="0"/>
                </a:rPr>
                <a:t>MODERN</a:t>
              </a:r>
              <a:endParaRPr kumimoji="0" lang="es-MX" sz="2400" b="1" i="0" u="none" strike="noStrike" kern="1200" cap="none" spc="0" normalizeH="0" baseline="0" noProof="0" dirty="0">
                <a:ln>
                  <a:noFill/>
                </a:ln>
                <a:solidFill>
                  <a:srgbClr val="70AD47"/>
                </a:solidFill>
                <a:effectLst/>
                <a:uLnTx/>
                <a:uFillTx/>
                <a:latin typeface="Source Sans Pro" panose="020B0503030403020204" pitchFamily="34" charset="0"/>
                <a:ea typeface="Source Sans Pro" panose="020B0503030403020204" pitchFamily="34" charset="0"/>
                <a:cs typeface="Helvetica" panose="020B0604020202020204" pitchFamily="34" charset="0"/>
              </a:endParaRPr>
            </a:p>
          </p:txBody>
        </p:sp>
        <p:sp>
          <p:nvSpPr>
            <p:cNvPr id="11" name="Rectángulo 32">
              <a:extLst>
                <a:ext uri="{FF2B5EF4-FFF2-40B4-BE49-F238E27FC236}">
                  <a16:creationId xmlns:a16="http://schemas.microsoft.com/office/drawing/2014/main" id="{369E9FFE-1014-93A5-7931-B1CE6A997C96}"/>
                </a:ext>
              </a:extLst>
            </p:cNvPr>
            <p:cNvSpPr/>
            <p:nvPr/>
          </p:nvSpPr>
          <p:spPr>
            <a:xfrm>
              <a:off x="6389241" y="4708285"/>
              <a:ext cx="2051978" cy="442674"/>
            </a:xfrm>
            <a:prstGeom prst="roundRect">
              <a:avLst/>
            </a:prstGeom>
            <a:gradFill flip="none" rotWithShape="1">
              <a:gsLst>
                <a:gs pos="0">
                  <a:srgbClr val="D9D9D9"/>
                </a:gs>
                <a:gs pos="74000">
                  <a:schemeClr val="bg1">
                    <a:lumMod val="85000"/>
                  </a:schemeClr>
                </a:gs>
                <a:gs pos="83000">
                  <a:schemeClr val="bg1">
                    <a:lumMod val="85000"/>
                  </a:schemeClr>
                </a:gs>
                <a:gs pos="100000">
                  <a:schemeClr val="bg1">
                    <a:lumMod val="95000"/>
                    <a:alpha val="2522"/>
                  </a:schemeClr>
                </a:gs>
              </a:gsLst>
              <a:path path="rect">
                <a:fillToRect l="100000" t="100000"/>
              </a:path>
              <a:tileRect r="-100000" b="-100000"/>
            </a:gradFill>
            <a:ln w="28575">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2000" b="1" i="0" u="none" strike="noStrike" kern="1200" cap="none" spc="0" normalizeH="0" baseline="0" noProof="0" dirty="0">
                <a:ln>
                  <a:noFill/>
                </a:ln>
                <a:solidFill>
                  <a:prstClr val="white"/>
                </a:solidFill>
                <a:effectLst/>
                <a:uLnTx/>
                <a:uFillTx/>
                <a:latin typeface="+mj-lt"/>
                <a:ea typeface="+mn-ea"/>
                <a:cs typeface="Helvetica" panose="020B0604020202020204" pitchFamily="34" charset="0"/>
              </a:endParaRPr>
            </a:p>
          </p:txBody>
        </p:sp>
        <p:sp>
          <p:nvSpPr>
            <p:cNvPr id="13" name="Título 1">
              <a:extLst>
                <a:ext uri="{FF2B5EF4-FFF2-40B4-BE49-F238E27FC236}">
                  <a16:creationId xmlns:a16="http://schemas.microsoft.com/office/drawing/2014/main" id="{51DCEB02-26B9-72DB-63D5-6D7984E3542A}"/>
                </a:ext>
              </a:extLst>
            </p:cNvPr>
            <p:cNvSpPr txBox="1">
              <a:spLocks/>
            </p:cNvSpPr>
            <p:nvPr/>
          </p:nvSpPr>
          <p:spPr>
            <a:xfrm>
              <a:off x="6629460" y="4733080"/>
              <a:ext cx="1821701" cy="47514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400" b="1" i="0" u="none" strike="noStrike" kern="1200" cap="none" spc="0" normalizeH="0" baseline="0" noProof="0" dirty="0">
                  <a:ln>
                    <a:noFill/>
                  </a:ln>
                  <a:solidFill>
                    <a:srgbClr val="70AD47"/>
                  </a:solidFill>
                  <a:effectLst/>
                  <a:uLnTx/>
                  <a:uFillTx/>
                  <a:latin typeface="Source Sans Pro" panose="020B0503030403020204" pitchFamily="34" charset="0"/>
                  <a:ea typeface="Source Sans Pro" panose="020B0503030403020204" pitchFamily="34" charset="0"/>
                  <a:cs typeface="Helvetica" panose="020B0604020202020204" pitchFamily="34" charset="0"/>
                </a:rPr>
                <a:t>ACCESSIBLE</a:t>
              </a:r>
              <a:endParaRPr kumimoji="0" lang="es-MX" sz="2400" b="1" i="0" u="none" strike="noStrike" kern="1200" cap="none" spc="0" normalizeH="0" baseline="0" noProof="0" dirty="0">
                <a:ln>
                  <a:noFill/>
                </a:ln>
                <a:solidFill>
                  <a:srgbClr val="70AD47"/>
                </a:solidFill>
                <a:effectLst/>
                <a:uLnTx/>
                <a:uFillTx/>
                <a:latin typeface="Source Sans Pro" panose="020B0503030403020204" pitchFamily="34" charset="0"/>
                <a:ea typeface="Source Sans Pro" panose="020B0503030403020204" pitchFamily="34" charset="0"/>
                <a:cs typeface="Helvetica" panose="020B0604020202020204" pitchFamily="34" charset="0"/>
              </a:endParaRPr>
            </a:p>
          </p:txBody>
        </p:sp>
        <p:sp>
          <p:nvSpPr>
            <p:cNvPr id="15" name="Rectángulo 32">
              <a:extLst>
                <a:ext uri="{FF2B5EF4-FFF2-40B4-BE49-F238E27FC236}">
                  <a16:creationId xmlns:a16="http://schemas.microsoft.com/office/drawing/2014/main" id="{93B0EA6A-3017-2C22-5F5E-80196DFCAC44}"/>
                </a:ext>
              </a:extLst>
            </p:cNvPr>
            <p:cNvSpPr/>
            <p:nvPr/>
          </p:nvSpPr>
          <p:spPr>
            <a:xfrm>
              <a:off x="9083653" y="4720984"/>
              <a:ext cx="1821701" cy="442674"/>
            </a:xfrm>
            <a:prstGeom prst="roundRect">
              <a:avLst/>
            </a:prstGeom>
            <a:gradFill flip="none" rotWithShape="1">
              <a:gsLst>
                <a:gs pos="0">
                  <a:srgbClr val="D9D9D9"/>
                </a:gs>
                <a:gs pos="74000">
                  <a:schemeClr val="bg1">
                    <a:lumMod val="85000"/>
                  </a:schemeClr>
                </a:gs>
                <a:gs pos="83000">
                  <a:schemeClr val="bg1">
                    <a:lumMod val="85000"/>
                  </a:schemeClr>
                </a:gs>
                <a:gs pos="100000">
                  <a:schemeClr val="bg1">
                    <a:lumMod val="95000"/>
                    <a:alpha val="2522"/>
                  </a:schemeClr>
                </a:gs>
              </a:gsLst>
              <a:path path="rect">
                <a:fillToRect l="100000" t="100000"/>
              </a:path>
              <a:tileRect r="-100000" b="-100000"/>
            </a:gradFill>
            <a:ln w="28575">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MX" sz="2000" b="1" i="0" u="none" strike="noStrike" kern="1200" cap="none" spc="0" normalizeH="0" baseline="0" noProof="0" dirty="0">
                <a:ln>
                  <a:noFill/>
                </a:ln>
                <a:solidFill>
                  <a:prstClr val="white"/>
                </a:solidFill>
                <a:effectLst/>
                <a:uLnTx/>
                <a:uFillTx/>
                <a:latin typeface="+mj-lt"/>
                <a:ea typeface="+mn-ea"/>
                <a:cs typeface="Helvetica" panose="020B0604020202020204" pitchFamily="34" charset="0"/>
              </a:endParaRPr>
            </a:p>
          </p:txBody>
        </p:sp>
        <p:sp>
          <p:nvSpPr>
            <p:cNvPr id="17" name="Título 1">
              <a:extLst>
                <a:ext uri="{FF2B5EF4-FFF2-40B4-BE49-F238E27FC236}">
                  <a16:creationId xmlns:a16="http://schemas.microsoft.com/office/drawing/2014/main" id="{611322C6-98A8-4772-D948-B192991E9819}"/>
                </a:ext>
              </a:extLst>
            </p:cNvPr>
            <p:cNvSpPr txBox="1">
              <a:spLocks/>
            </p:cNvSpPr>
            <p:nvPr/>
          </p:nvSpPr>
          <p:spPr>
            <a:xfrm>
              <a:off x="9159853" y="4694093"/>
              <a:ext cx="1821701" cy="62103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s-ES" sz="2400" b="1" i="0" u="none" strike="noStrike" kern="1200" cap="none" spc="0" normalizeH="0" baseline="0" noProof="0" dirty="0">
                  <a:ln>
                    <a:noFill/>
                  </a:ln>
                  <a:solidFill>
                    <a:srgbClr val="70AD47"/>
                  </a:solidFill>
                  <a:effectLst/>
                  <a:uLnTx/>
                  <a:uFillTx/>
                  <a:latin typeface="Source Sans Pro" panose="020B0503030403020204" pitchFamily="34" charset="0"/>
                  <a:ea typeface="Source Sans Pro" panose="020B0503030403020204" pitchFamily="34" charset="0"/>
                  <a:cs typeface="Helvetica" panose="020B0604020202020204" pitchFamily="34" charset="0"/>
                </a:rPr>
                <a:t>EFFICIENT</a:t>
              </a:r>
              <a:endParaRPr kumimoji="0" lang="es-MX" sz="2400" b="1" i="0" u="none" strike="noStrike" kern="1200" cap="none" spc="0" normalizeH="0" baseline="0" noProof="0" dirty="0">
                <a:ln>
                  <a:noFill/>
                </a:ln>
                <a:solidFill>
                  <a:srgbClr val="70AD47"/>
                </a:solidFill>
                <a:effectLst/>
                <a:uLnTx/>
                <a:uFillTx/>
                <a:latin typeface="Source Sans Pro" panose="020B0503030403020204" pitchFamily="34" charset="0"/>
                <a:ea typeface="Source Sans Pro" panose="020B0503030403020204" pitchFamily="34" charset="0"/>
                <a:cs typeface="Helvetica" panose="020B0604020202020204" pitchFamily="34" charset="0"/>
              </a:endParaRPr>
            </a:p>
          </p:txBody>
        </p:sp>
      </p:grpSp>
      <p:sp>
        <p:nvSpPr>
          <p:cNvPr id="3" name="Rectángulo 2">
            <a:extLst>
              <a:ext uri="{FF2B5EF4-FFF2-40B4-BE49-F238E27FC236}">
                <a16:creationId xmlns:a16="http://schemas.microsoft.com/office/drawing/2014/main" id="{ADB7F99C-6B7A-99F8-5FA4-8296533C28A8}"/>
              </a:ext>
            </a:extLst>
          </p:cNvPr>
          <p:cNvSpPr/>
          <p:nvPr/>
        </p:nvSpPr>
        <p:spPr>
          <a:xfrm>
            <a:off x="8267070" y="16694"/>
            <a:ext cx="3712473" cy="1014983"/>
          </a:xfrm>
          <a:prstGeom prst="rect">
            <a:avLst/>
          </a:prstGeom>
          <a:ln>
            <a:solidFill>
              <a:srgbClr val="FFFFFF"/>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MX">
              <a:latin typeface="+mj-lt"/>
            </a:endParaRPr>
          </a:p>
        </p:txBody>
      </p:sp>
      <p:sp>
        <p:nvSpPr>
          <p:cNvPr id="4" name="Rectángulo 3">
            <a:extLst>
              <a:ext uri="{FF2B5EF4-FFF2-40B4-BE49-F238E27FC236}">
                <a16:creationId xmlns:a16="http://schemas.microsoft.com/office/drawing/2014/main" id="{C7BB652E-4A9C-73B5-6D68-77E19781A610}"/>
              </a:ext>
            </a:extLst>
          </p:cNvPr>
          <p:cNvSpPr/>
          <p:nvPr/>
        </p:nvSpPr>
        <p:spPr>
          <a:xfrm>
            <a:off x="6766966" y="5983920"/>
            <a:ext cx="5425034" cy="705309"/>
          </a:xfrm>
          <a:prstGeom prst="rect">
            <a:avLst/>
          </a:prstGeom>
          <a:ln>
            <a:solidFill>
              <a:srgbClr val="FFFFFF"/>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s-MX" dirty="0">
              <a:latin typeface="+mj-lt"/>
            </a:endParaRPr>
          </a:p>
        </p:txBody>
      </p:sp>
      <p:pic>
        <p:nvPicPr>
          <p:cNvPr id="2" name="Imagen 1" descr="Imagen que contiene objeto, reloj, dibujo&#10;&#10;Descripción generada automáticamente">
            <a:extLst>
              <a:ext uri="{FF2B5EF4-FFF2-40B4-BE49-F238E27FC236}">
                <a16:creationId xmlns:a16="http://schemas.microsoft.com/office/drawing/2014/main" id="{F3E8345C-0966-4AFA-6CC4-5207CBA4551C}"/>
              </a:ext>
            </a:extLst>
          </p:cNvPr>
          <p:cNvPicPr>
            <a:picLocks noChangeAspect="1"/>
          </p:cNvPicPr>
          <p:nvPr/>
        </p:nvPicPr>
        <p:blipFill>
          <a:blip r:embed="rId6"/>
          <a:stretch>
            <a:fillRect/>
          </a:stretch>
        </p:blipFill>
        <p:spPr>
          <a:xfrm>
            <a:off x="9646323" y="57473"/>
            <a:ext cx="2545677" cy="612000"/>
          </a:xfrm>
          <a:prstGeom prst="rect">
            <a:avLst/>
          </a:prstGeom>
        </p:spPr>
      </p:pic>
      <p:pic>
        <p:nvPicPr>
          <p:cNvPr id="19" name="Picture 11">
            <a:extLst>
              <a:ext uri="{FF2B5EF4-FFF2-40B4-BE49-F238E27FC236}">
                <a16:creationId xmlns:a16="http://schemas.microsoft.com/office/drawing/2014/main" id="{04B1D804-CE09-DE9C-4D34-9FDCBEACC7FA}"/>
              </a:ext>
            </a:extLst>
          </p:cNvPr>
          <p:cNvPicPr>
            <a:picLocks noChangeAspect="1"/>
          </p:cNvPicPr>
          <p:nvPr/>
        </p:nvPicPr>
        <p:blipFill>
          <a:blip r:embed="rId7" cstate="print">
            <a:duotone>
              <a:prstClr val="black"/>
              <a:srgbClr val="59AF31">
                <a:tint val="45000"/>
                <a:satMod val="400000"/>
              </a:srgbClr>
            </a:duotone>
            <a:extLst>
              <a:ext uri="{28A0092B-C50C-407E-A947-70E740481C1C}">
                <a14:useLocalDpi xmlns:a14="http://schemas.microsoft.com/office/drawing/2010/main" val="0"/>
              </a:ext>
            </a:extLst>
          </a:blip>
          <a:stretch>
            <a:fillRect/>
          </a:stretch>
        </p:blipFill>
        <p:spPr>
          <a:xfrm>
            <a:off x="297713" y="251550"/>
            <a:ext cx="2880000" cy="90024"/>
          </a:xfrm>
          <a:prstGeom prst="rect">
            <a:avLst/>
          </a:prstGeom>
        </p:spPr>
      </p:pic>
    </p:spTree>
    <p:extLst>
      <p:ext uri="{BB962C8B-B14F-4D97-AF65-F5344CB8AC3E}">
        <p14:creationId xmlns:p14="http://schemas.microsoft.com/office/powerpoint/2010/main" val="2589373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Marcador de posición de imagen 9">
            <a:extLst>
              <a:ext uri="{FF2B5EF4-FFF2-40B4-BE49-F238E27FC236}">
                <a16:creationId xmlns:a16="http://schemas.microsoft.com/office/drawing/2014/main" id="{24ADE14B-4D20-6592-F07A-E52E8DCD3685}"/>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3302" r="23302"/>
          <a:stretch>
            <a:fillRect/>
          </a:stretch>
        </p:blipFill>
        <p:spPr>
          <a:xfrm>
            <a:off x="6951945" y="0"/>
            <a:ext cx="5640322" cy="6858001"/>
          </a:xfrm>
        </p:spPr>
      </p:pic>
      <p:sp>
        <p:nvSpPr>
          <p:cNvPr id="5" name="Titel 4">
            <a:extLst>
              <a:ext uri="{FF2B5EF4-FFF2-40B4-BE49-F238E27FC236}">
                <a16:creationId xmlns:a16="http://schemas.microsoft.com/office/drawing/2014/main" id="{E4C72543-0D5B-427F-B5EB-37723E6E400F}"/>
              </a:ext>
            </a:extLst>
          </p:cNvPr>
          <p:cNvSpPr>
            <a:spLocks noGrp="1"/>
          </p:cNvSpPr>
          <p:nvPr>
            <p:ph type="title"/>
          </p:nvPr>
        </p:nvSpPr>
        <p:spPr>
          <a:xfrm>
            <a:off x="0" y="4480988"/>
            <a:ext cx="8868428" cy="1480904"/>
          </a:xfrm>
        </p:spPr>
        <p:txBody>
          <a:bodyPr>
            <a:norm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s-MX" sz="3200" b="1" u="none" strike="noStrike" kern="1200" cap="none" spc="0" normalizeH="0" baseline="0" noProof="0" dirty="0">
                <a:ln>
                  <a:noFill/>
                </a:ln>
                <a:solidFill>
                  <a:sysClr val="window" lastClr="FFFFFF"/>
                </a:solidFill>
                <a:uLnTx/>
                <a:uFillTx/>
                <a:latin typeface="Arial Black" panose="020B0604020202020204" pitchFamily="34" charset="0"/>
                <a:ea typeface="Tahoma" panose="020B0604030504040204" pitchFamily="34" charset="0"/>
                <a:cs typeface="Arial Black" panose="020B0604020202020204" pitchFamily="34" charset="0"/>
              </a:rPr>
              <a:t>WHAT IS VA Y VEN SYSTEM?</a:t>
            </a:r>
            <a:br>
              <a:rPr kumimoji="0" lang="es-MX" sz="4400" b="1" u="none" strike="noStrike" kern="1200" cap="none" spc="0" normalizeH="0" baseline="0" noProof="0" dirty="0">
                <a:ln>
                  <a:noFill/>
                </a:ln>
                <a:solidFill>
                  <a:sysClr val="window" lastClr="FFFFFF"/>
                </a:solidFill>
                <a:uLnTx/>
                <a:uFillTx/>
                <a:latin typeface="Arial Black" panose="020B0604020202020204" pitchFamily="34" charset="0"/>
                <a:ea typeface="Tahoma" panose="020B0604030504040204" pitchFamily="34" charset="0"/>
                <a:cs typeface="Arial Black" panose="020B0604020202020204" pitchFamily="34" charset="0"/>
              </a:rPr>
            </a:br>
            <a:endParaRPr kumimoji="0" lang="es-MX" sz="3600" b="1" u="none" strike="noStrike" kern="1200" cap="none" spc="0" normalizeH="0" baseline="0" noProof="0" dirty="0">
              <a:ln>
                <a:noFill/>
              </a:ln>
              <a:solidFill>
                <a:sysClr val="window" lastClr="FFFFFF"/>
              </a:solidFill>
              <a:uLnTx/>
              <a:uFillTx/>
              <a:latin typeface="Arial Black" panose="020B0604020202020204" pitchFamily="34" charset="0"/>
              <a:ea typeface="Tahoma" panose="020B0604030504040204" pitchFamily="34" charset="0"/>
              <a:cs typeface="Arial Black" panose="020B0604020202020204" pitchFamily="34" charset="0"/>
            </a:endParaRPr>
          </a:p>
        </p:txBody>
      </p:sp>
    </p:spTree>
    <p:extLst>
      <p:ext uri="{BB962C8B-B14F-4D97-AF65-F5344CB8AC3E}">
        <p14:creationId xmlns:p14="http://schemas.microsoft.com/office/powerpoint/2010/main" val="3095238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dondear rectángulo de esquina diagonal 18">
            <a:extLst>
              <a:ext uri="{FF2B5EF4-FFF2-40B4-BE49-F238E27FC236}">
                <a16:creationId xmlns:a16="http://schemas.microsoft.com/office/drawing/2014/main" id="{BFD09F93-C539-6262-5608-E15EB6C5E20E}"/>
              </a:ext>
            </a:extLst>
          </p:cNvPr>
          <p:cNvSpPr/>
          <p:nvPr/>
        </p:nvSpPr>
        <p:spPr>
          <a:xfrm>
            <a:off x="1517517" y="2299074"/>
            <a:ext cx="10464443" cy="1252736"/>
          </a:xfrm>
          <a:prstGeom prst="round2Diag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6" name="Redondear rectángulo de esquina diagonal 15">
            <a:extLst>
              <a:ext uri="{FF2B5EF4-FFF2-40B4-BE49-F238E27FC236}">
                <a16:creationId xmlns:a16="http://schemas.microsoft.com/office/drawing/2014/main" id="{68D2FDC4-61BC-0313-E1CB-3C28F8E82ED2}"/>
              </a:ext>
            </a:extLst>
          </p:cNvPr>
          <p:cNvSpPr/>
          <p:nvPr/>
        </p:nvSpPr>
        <p:spPr>
          <a:xfrm>
            <a:off x="2398493" y="864517"/>
            <a:ext cx="9583468" cy="1338399"/>
          </a:xfrm>
          <a:prstGeom prst="round2Diag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_tradnl"/>
          </a:p>
        </p:txBody>
      </p:sp>
      <p:sp>
        <p:nvSpPr>
          <p:cNvPr id="12" name="CuadroTexto 11">
            <a:extLst>
              <a:ext uri="{FF2B5EF4-FFF2-40B4-BE49-F238E27FC236}">
                <a16:creationId xmlns:a16="http://schemas.microsoft.com/office/drawing/2014/main" id="{5C0F2A1D-C813-92E8-B497-0F0DEDA6D56C}"/>
              </a:ext>
            </a:extLst>
          </p:cNvPr>
          <p:cNvSpPr txBox="1"/>
          <p:nvPr/>
        </p:nvSpPr>
        <p:spPr>
          <a:xfrm>
            <a:off x="273320" y="378091"/>
            <a:ext cx="8975092" cy="523220"/>
          </a:xfrm>
          <a:prstGeom prst="rect">
            <a:avLst/>
          </a:prstGeom>
          <a:noFill/>
        </p:spPr>
        <p:txBody>
          <a:bodyPr wrap="square">
            <a:spAutoFit/>
          </a:bodyPr>
          <a:lstStyle/>
          <a:p>
            <a:r>
              <a:rPr lang="es-ES_tradnl" sz="2800" b="1" dirty="0">
                <a:solidFill>
                  <a:schemeClr val="tx2"/>
                </a:solidFill>
                <a:latin typeface="Source Sans Pro" panose="020B0503030403020204" pitchFamily="34" charset="0"/>
                <a:ea typeface="Source Sans Pro" panose="020B0503030403020204" pitchFamily="34" charset="0"/>
                <a:cs typeface="Arial Black" panose="020B0604020202020204" pitchFamily="34" charset="0"/>
              </a:rPr>
              <a:t>THE STRENGTH OF THE SYSTEM CONSISTS OF 3 PILLARS </a:t>
            </a:r>
            <a:endParaRPr lang="es-ES_tradnl" sz="2800" b="1" dirty="0">
              <a:solidFill>
                <a:schemeClr val="tx2"/>
              </a:solidFill>
              <a:latin typeface="Source Sans Pro" panose="020B0503030403020204" pitchFamily="34" charset="0"/>
              <a:ea typeface="Source Sans Pro" panose="020B0503030403020204" pitchFamily="34" charset="0"/>
            </a:endParaRPr>
          </a:p>
        </p:txBody>
      </p:sp>
      <p:sp>
        <p:nvSpPr>
          <p:cNvPr id="15" name="Redondear rectángulo de esquina diagonal 14">
            <a:extLst>
              <a:ext uri="{FF2B5EF4-FFF2-40B4-BE49-F238E27FC236}">
                <a16:creationId xmlns:a16="http://schemas.microsoft.com/office/drawing/2014/main" id="{8114443B-6757-452D-354F-5E89A3E9A927}"/>
              </a:ext>
            </a:extLst>
          </p:cNvPr>
          <p:cNvSpPr/>
          <p:nvPr/>
        </p:nvSpPr>
        <p:spPr>
          <a:xfrm>
            <a:off x="2055732" y="3634832"/>
            <a:ext cx="9926229" cy="1202435"/>
          </a:xfrm>
          <a:prstGeom prst="round2Diag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just"/>
            <a:r>
              <a:rPr lang="en-US" sz="1600" dirty="0">
                <a:solidFill>
                  <a:schemeClr val="bg2">
                    <a:lumMod val="25000"/>
                  </a:schemeClr>
                </a:solidFill>
                <a:latin typeface="Source Sans Pro" panose="020B0503030403020204" pitchFamily="34" charset="0"/>
                <a:ea typeface="Source Sans Pro" panose="020B0503030403020204" pitchFamily="34" charset="0"/>
                <a:cs typeface="Arial" panose="020B0604020202020204" pitchFamily="34" charset="0"/>
              </a:rPr>
              <a:t>The system features a modern bus fleet, advanced technology, improved accessibility, environmentally friendly operations, better working conditions for drivers, and ongoing training programs to maintain high service quality.</a:t>
            </a:r>
          </a:p>
        </p:txBody>
      </p:sp>
      <p:pic>
        <p:nvPicPr>
          <p:cNvPr id="18" name="Imagen 17">
            <a:extLst>
              <a:ext uri="{FF2B5EF4-FFF2-40B4-BE49-F238E27FC236}">
                <a16:creationId xmlns:a16="http://schemas.microsoft.com/office/drawing/2014/main" id="{F6AAC999-B20C-C151-1FB3-BBCCE2475B9D}"/>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9771255" y="5161949"/>
            <a:ext cx="2420745" cy="1711011"/>
          </a:xfrm>
          <a:prstGeom prst="rect">
            <a:avLst/>
          </a:prstGeom>
        </p:spPr>
      </p:pic>
      <p:pic>
        <p:nvPicPr>
          <p:cNvPr id="23" name="Imagen 22">
            <a:extLst>
              <a:ext uri="{FF2B5EF4-FFF2-40B4-BE49-F238E27FC236}">
                <a16:creationId xmlns:a16="http://schemas.microsoft.com/office/drawing/2014/main" id="{4595F6B4-79F4-5998-3342-24DBAEE8EE46}"/>
              </a:ext>
            </a:extLst>
          </p:cNvPr>
          <p:cNvPicPr>
            <a:picLocks noChangeAspect="1"/>
          </p:cNvPicPr>
          <p:nvPr/>
        </p:nvPicPr>
        <p:blipFill>
          <a:blip r:embed="rId3"/>
          <a:stretch>
            <a:fillRect/>
          </a:stretch>
        </p:blipFill>
        <p:spPr>
          <a:xfrm>
            <a:off x="7013525" y="5171569"/>
            <a:ext cx="2757730" cy="1686431"/>
          </a:xfrm>
          <a:prstGeom prst="rect">
            <a:avLst/>
          </a:prstGeom>
        </p:spPr>
      </p:pic>
      <p:pic>
        <p:nvPicPr>
          <p:cNvPr id="26" name="Picture 38">
            <a:extLst>
              <a:ext uri="{FF2B5EF4-FFF2-40B4-BE49-F238E27FC236}">
                <a16:creationId xmlns:a16="http://schemas.microsoft.com/office/drawing/2014/main" id="{788CDD88-3A9B-5FB6-0706-8A9C4A90FAB1}"/>
              </a:ext>
            </a:extLst>
          </p:cNvPr>
          <p:cNvPicPr>
            <a:picLocks noChangeAspect="1"/>
          </p:cNvPicPr>
          <p:nvPr/>
        </p:nvPicPr>
        <p:blipFill>
          <a:blip r:embed="rId4">
            <a:alphaModFix/>
            <a:extLst>
              <a:ext uri="{28A0092B-C50C-407E-A947-70E740481C1C}">
                <a14:useLocalDpi xmlns:a14="http://schemas.microsoft.com/office/drawing/2010/main" val="0"/>
              </a:ext>
            </a:extLst>
          </a:blip>
          <a:stretch>
            <a:fillRect/>
          </a:stretch>
        </p:blipFill>
        <p:spPr>
          <a:xfrm>
            <a:off x="4461780" y="5156836"/>
            <a:ext cx="2556935" cy="1703557"/>
          </a:xfrm>
          <a:prstGeom prst="rect">
            <a:avLst/>
          </a:prstGeom>
          <a:ln>
            <a:noFill/>
          </a:ln>
          <a:effectLst>
            <a:softEdge rad="0"/>
          </a:effectLst>
        </p:spPr>
      </p:pic>
      <p:pic>
        <p:nvPicPr>
          <p:cNvPr id="27" name="Picture 40">
            <a:extLst>
              <a:ext uri="{FF2B5EF4-FFF2-40B4-BE49-F238E27FC236}">
                <a16:creationId xmlns:a16="http://schemas.microsoft.com/office/drawing/2014/main" id="{B8B82999-3ED4-495C-40EC-460CC41B517E}"/>
              </a:ext>
            </a:extLst>
          </p:cNvPr>
          <p:cNvPicPr>
            <a:picLocks noChangeAspect="1"/>
          </p:cNvPicPr>
          <p:nvPr/>
        </p:nvPicPr>
        <p:blipFill>
          <a:blip r:embed="rId5" cstate="hqprint">
            <a:alphaModFix/>
            <a:extLst>
              <a:ext uri="{28A0092B-C50C-407E-A947-70E740481C1C}">
                <a14:useLocalDpi xmlns:a14="http://schemas.microsoft.com/office/drawing/2010/main" val="0"/>
              </a:ext>
            </a:extLst>
          </a:blip>
          <a:stretch>
            <a:fillRect/>
          </a:stretch>
        </p:blipFill>
        <p:spPr>
          <a:xfrm>
            <a:off x="2265771" y="5171570"/>
            <a:ext cx="2203087" cy="1686430"/>
          </a:xfrm>
          <a:prstGeom prst="rect">
            <a:avLst/>
          </a:prstGeom>
          <a:ln>
            <a:noFill/>
          </a:ln>
          <a:effectLst>
            <a:softEdge rad="0"/>
          </a:effectLst>
        </p:spPr>
      </p:pic>
      <p:sp>
        <p:nvSpPr>
          <p:cNvPr id="7" name="CuadroTexto 6">
            <a:extLst>
              <a:ext uri="{FF2B5EF4-FFF2-40B4-BE49-F238E27FC236}">
                <a16:creationId xmlns:a16="http://schemas.microsoft.com/office/drawing/2014/main" id="{E3850F99-F492-EE0A-AC36-68F3C9CBABFB}"/>
              </a:ext>
            </a:extLst>
          </p:cNvPr>
          <p:cNvSpPr txBox="1"/>
          <p:nvPr/>
        </p:nvSpPr>
        <p:spPr>
          <a:xfrm>
            <a:off x="1517518" y="2218750"/>
            <a:ext cx="10464443" cy="1323439"/>
          </a:xfrm>
          <a:prstGeom prst="rect">
            <a:avLst/>
          </a:prstGeom>
          <a:noFill/>
        </p:spPr>
        <p:txBody>
          <a:bodyPr wrap="square">
            <a:spAutoFit/>
          </a:bodyPr>
          <a:lstStyle/>
          <a:p>
            <a:pPr algn="just"/>
            <a:r>
              <a:rPr lang="en-US" sz="1600" dirty="0">
                <a:solidFill>
                  <a:schemeClr val="bg2">
                    <a:lumMod val="25000"/>
                  </a:schemeClr>
                </a:solidFill>
                <a:latin typeface="Source Sans Pro" panose="020B0503030403020204" pitchFamily="34" charset="0"/>
                <a:ea typeface="Source Sans Pro" panose="020B0503030403020204" pitchFamily="34" charset="0"/>
                <a:cs typeface="Arial" panose="020B0604020202020204" pitchFamily="34" charset="0"/>
              </a:rPr>
              <a:t>The system employs per-kilometer payments to ensure fair cost distribution. It has transitioned to corporate management to enhance professional oversight. A transparent trust fund manages the collection of tariffs and state contributions, governed by its own rules to ensure accountability and efficient payment processes. Additionally, an electronic fare collection system improves efficiency and minimizes fraud, while a fleet management system optimizes operations and reduces costs.</a:t>
            </a:r>
            <a:endParaRPr lang="es-MX" sz="1600" dirty="0">
              <a:solidFill>
                <a:schemeClr val="bg2">
                  <a:lumMod val="25000"/>
                </a:schemeClr>
              </a:solidFill>
              <a:effectLst/>
              <a:latin typeface="Source Sans Pro" panose="020B0503030403020204" pitchFamily="34" charset="0"/>
              <a:ea typeface="Source Sans Pro" panose="020B0503030403020204" pitchFamily="34" charset="0"/>
              <a:cs typeface="Arial" panose="020B0604020202020204" pitchFamily="34" charset="0"/>
            </a:endParaRPr>
          </a:p>
        </p:txBody>
      </p:sp>
      <p:sp>
        <p:nvSpPr>
          <p:cNvPr id="11" name="CuadroTexto 10">
            <a:extLst>
              <a:ext uri="{FF2B5EF4-FFF2-40B4-BE49-F238E27FC236}">
                <a16:creationId xmlns:a16="http://schemas.microsoft.com/office/drawing/2014/main" id="{21B0FBCC-3B7F-49ED-1661-B726723EF4E4}"/>
              </a:ext>
            </a:extLst>
          </p:cNvPr>
          <p:cNvSpPr txBox="1"/>
          <p:nvPr/>
        </p:nvSpPr>
        <p:spPr>
          <a:xfrm>
            <a:off x="2398493" y="911143"/>
            <a:ext cx="9583468" cy="1323439"/>
          </a:xfrm>
          <a:prstGeom prst="rect">
            <a:avLst/>
          </a:prstGeom>
          <a:noFill/>
          <a:ln>
            <a:noFill/>
          </a:ln>
        </p:spPr>
        <p:txBody>
          <a:bodyPr wrap="square">
            <a:spAutoFit/>
          </a:bodyPr>
          <a:lstStyle/>
          <a:p>
            <a:pPr algn="just"/>
            <a:r>
              <a:rPr lang="en-US" sz="1600" dirty="0">
                <a:solidFill>
                  <a:schemeClr val="bg2">
                    <a:lumMod val="25000"/>
                  </a:schemeClr>
                </a:solidFill>
                <a:effectLst/>
                <a:latin typeface="Source Sans Pro" panose="020B0503030403020204" pitchFamily="34" charset="0"/>
                <a:ea typeface="Source Sans Pro" panose="020B0503030403020204" pitchFamily="34" charset="0"/>
                <a:cs typeface="Arial" panose="020B0604020202020204" pitchFamily="34" charset="0"/>
              </a:rPr>
              <a:t>The establishment of the Yucatán Transportation Agency, through the constitutional amendment of September 12, 2022, has enhanced institutional integrity and legal certainty. This autonomous entity is specifically tasked with regulating state transportation, including the management of public transport fares and concessions. The agency’s autonomy ensures long-term stability and reinforces its capacity to make independent and effective decisions.</a:t>
            </a:r>
            <a:endParaRPr lang="es-MX" sz="1600" dirty="0">
              <a:solidFill>
                <a:schemeClr val="bg2">
                  <a:lumMod val="25000"/>
                </a:schemeClr>
              </a:solidFill>
              <a:effectLst/>
              <a:latin typeface="Source Sans Pro" panose="020B0503030403020204" pitchFamily="34" charset="0"/>
              <a:ea typeface="Source Sans Pro" panose="020B0503030403020204" pitchFamily="34" charset="0"/>
              <a:cs typeface="Arial" panose="020B0604020202020204" pitchFamily="34" charset="0"/>
            </a:endParaRPr>
          </a:p>
        </p:txBody>
      </p:sp>
      <p:grpSp>
        <p:nvGrpSpPr>
          <p:cNvPr id="2" name="Gruppieren 2383">
            <a:extLst>
              <a:ext uri="{FF2B5EF4-FFF2-40B4-BE49-F238E27FC236}">
                <a16:creationId xmlns:a16="http://schemas.microsoft.com/office/drawing/2014/main" id="{49C0D71F-CFF7-3105-9BF5-227C6E8EEDA0}"/>
              </a:ext>
            </a:extLst>
          </p:cNvPr>
          <p:cNvGrpSpPr/>
          <p:nvPr/>
        </p:nvGrpSpPr>
        <p:grpSpPr>
          <a:xfrm>
            <a:off x="-5969" y="766545"/>
            <a:ext cx="2455101" cy="1344819"/>
            <a:chOff x="5891762" y="2687359"/>
            <a:chExt cx="1378683" cy="1378683"/>
          </a:xfrm>
        </p:grpSpPr>
        <p:sp>
          <p:nvSpPr>
            <p:cNvPr id="3" name="Ellipse 2380">
              <a:extLst>
                <a:ext uri="{FF2B5EF4-FFF2-40B4-BE49-F238E27FC236}">
                  <a16:creationId xmlns:a16="http://schemas.microsoft.com/office/drawing/2014/main" id="{B0C33C2F-2174-8FA1-4E38-16C14027F6A5}"/>
                </a:ext>
              </a:extLst>
            </p:cNvPr>
            <p:cNvSpPr/>
            <p:nvPr/>
          </p:nvSpPr>
          <p:spPr>
            <a:xfrm>
              <a:off x="5891762" y="2687359"/>
              <a:ext cx="1378683" cy="1378683"/>
            </a:xfrm>
            <a:prstGeom prst="ellipse">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9" name="Ellipse 2381">
              <a:extLst>
                <a:ext uri="{FF2B5EF4-FFF2-40B4-BE49-F238E27FC236}">
                  <a16:creationId xmlns:a16="http://schemas.microsoft.com/office/drawing/2014/main" id="{48A89263-0145-0C3C-7143-6B5FAC0E2FC7}"/>
                </a:ext>
              </a:extLst>
            </p:cNvPr>
            <p:cNvSpPr/>
            <p:nvPr/>
          </p:nvSpPr>
          <p:spPr>
            <a:xfrm>
              <a:off x="6025772" y="2821369"/>
              <a:ext cx="1110662" cy="1110662"/>
            </a:xfrm>
            <a:prstGeom prst="ellipse">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13" name="Ellipse 2382">
              <a:extLst>
                <a:ext uri="{FF2B5EF4-FFF2-40B4-BE49-F238E27FC236}">
                  <a16:creationId xmlns:a16="http://schemas.microsoft.com/office/drawing/2014/main" id="{DEC313D0-BA32-C645-09F6-93D2F3A23422}"/>
                </a:ext>
              </a:extLst>
            </p:cNvPr>
            <p:cNvSpPr/>
            <p:nvPr/>
          </p:nvSpPr>
          <p:spPr>
            <a:xfrm>
              <a:off x="6188279" y="2983876"/>
              <a:ext cx="785651" cy="78565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6" name="CuadroTexto 5">
            <a:extLst>
              <a:ext uri="{FF2B5EF4-FFF2-40B4-BE49-F238E27FC236}">
                <a16:creationId xmlns:a16="http://schemas.microsoft.com/office/drawing/2014/main" id="{29C5EBDE-D48B-89AE-A1A4-C871E14F6B6F}"/>
              </a:ext>
            </a:extLst>
          </p:cNvPr>
          <p:cNvSpPr txBox="1"/>
          <p:nvPr/>
        </p:nvSpPr>
        <p:spPr>
          <a:xfrm>
            <a:off x="360466" y="1057061"/>
            <a:ext cx="1775972" cy="738664"/>
          </a:xfrm>
          <a:prstGeom prst="rect">
            <a:avLst/>
          </a:prstGeom>
          <a:noFill/>
        </p:spPr>
        <p:txBody>
          <a:bodyPr wrap="square">
            <a:spAutoFit/>
          </a:bodyPr>
          <a:lstStyle/>
          <a:p>
            <a:pPr algn="just"/>
            <a:r>
              <a:rPr lang="en-US" sz="1400" b="1" dirty="0">
                <a:solidFill>
                  <a:srgbClr val="0070C0"/>
                </a:solidFill>
                <a:latin typeface="Source Sans Pro" panose="020B0503030403020204" pitchFamily="34" charset="0"/>
                <a:ea typeface="Source Sans Pro" panose="020B0503030403020204" pitchFamily="34" charset="0"/>
                <a:cs typeface="Arial Black" panose="020B0604020202020204" pitchFamily="34" charset="0"/>
              </a:rPr>
              <a:t>INSTITUTIONAL STRENGTH AND LEGAL CERTAINLY </a:t>
            </a:r>
          </a:p>
        </p:txBody>
      </p:sp>
      <p:pic>
        <p:nvPicPr>
          <p:cNvPr id="36" name="Imagen 35">
            <a:extLst>
              <a:ext uri="{FF2B5EF4-FFF2-40B4-BE49-F238E27FC236}">
                <a16:creationId xmlns:a16="http://schemas.microsoft.com/office/drawing/2014/main" id="{522D1128-B407-1942-F4DD-9C3307D97D5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57" y="5165398"/>
            <a:ext cx="2304279" cy="1686431"/>
          </a:xfrm>
          <a:prstGeom prst="rect">
            <a:avLst/>
          </a:prstGeom>
        </p:spPr>
      </p:pic>
      <p:grpSp>
        <p:nvGrpSpPr>
          <p:cNvPr id="30" name="Gruppieren 2383">
            <a:extLst>
              <a:ext uri="{FF2B5EF4-FFF2-40B4-BE49-F238E27FC236}">
                <a16:creationId xmlns:a16="http://schemas.microsoft.com/office/drawing/2014/main" id="{5BBE2347-2C14-49CB-5E57-EBA12CE7CB96}"/>
              </a:ext>
            </a:extLst>
          </p:cNvPr>
          <p:cNvGrpSpPr/>
          <p:nvPr/>
        </p:nvGrpSpPr>
        <p:grpSpPr>
          <a:xfrm>
            <a:off x="-82877" y="3610538"/>
            <a:ext cx="2556935" cy="1434513"/>
            <a:chOff x="5891762" y="2687359"/>
            <a:chExt cx="1378683" cy="1378683"/>
          </a:xfrm>
        </p:grpSpPr>
        <p:sp>
          <p:nvSpPr>
            <p:cNvPr id="31" name="Ellipse 2380">
              <a:extLst>
                <a:ext uri="{FF2B5EF4-FFF2-40B4-BE49-F238E27FC236}">
                  <a16:creationId xmlns:a16="http://schemas.microsoft.com/office/drawing/2014/main" id="{E74639EB-2141-A455-BA89-ACADCF2D1B88}"/>
                </a:ext>
              </a:extLst>
            </p:cNvPr>
            <p:cNvSpPr/>
            <p:nvPr/>
          </p:nvSpPr>
          <p:spPr>
            <a:xfrm>
              <a:off x="5891762" y="2687359"/>
              <a:ext cx="1378683" cy="1378683"/>
            </a:xfrm>
            <a:prstGeom prst="ellipse">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32" name="Ellipse 2381">
              <a:extLst>
                <a:ext uri="{FF2B5EF4-FFF2-40B4-BE49-F238E27FC236}">
                  <a16:creationId xmlns:a16="http://schemas.microsoft.com/office/drawing/2014/main" id="{97C24800-EB2B-4A9E-3FB1-C7A9B5FE3858}"/>
                </a:ext>
              </a:extLst>
            </p:cNvPr>
            <p:cNvSpPr/>
            <p:nvPr/>
          </p:nvSpPr>
          <p:spPr>
            <a:xfrm>
              <a:off x="6025772" y="2821369"/>
              <a:ext cx="1110662" cy="1110662"/>
            </a:xfrm>
            <a:prstGeom prst="ellipse">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33" name="Ellipse 2382">
              <a:extLst>
                <a:ext uri="{FF2B5EF4-FFF2-40B4-BE49-F238E27FC236}">
                  <a16:creationId xmlns:a16="http://schemas.microsoft.com/office/drawing/2014/main" id="{E019E340-663F-976A-6FD1-2D866DF73089}"/>
                </a:ext>
              </a:extLst>
            </p:cNvPr>
            <p:cNvSpPr/>
            <p:nvPr/>
          </p:nvSpPr>
          <p:spPr>
            <a:xfrm>
              <a:off x="6188279" y="2983876"/>
              <a:ext cx="785651" cy="78565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10" name="CuadroTexto 9">
            <a:extLst>
              <a:ext uri="{FF2B5EF4-FFF2-40B4-BE49-F238E27FC236}">
                <a16:creationId xmlns:a16="http://schemas.microsoft.com/office/drawing/2014/main" id="{268866CA-2CB3-1313-8D19-FEB9FDEF8BE7}"/>
              </a:ext>
            </a:extLst>
          </p:cNvPr>
          <p:cNvSpPr txBox="1"/>
          <p:nvPr/>
        </p:nvSpPr>
        <p:spPr>
          <a:xfrm>
            <a:off x="473554" y="4114371"/>
            <a:ext cx="1582178" cy="584775"/>
          </a:xfrm>
          <a:prstGeom prst="rect">
            <a:avLst/>
          </a:prstGeom>
          <a:noFill/>
        </p:spPr>
        <p:txBody>
          <a:bodyPr wrap="square">
            <a:spAutoFit/>
          </a:bodyPr>
          <a:lstStyle/>
          <a:p>
            <a:pPr algn="just"/>
            <a:r>
              <a:rPr lang="en-US" sz="1600" b="1" dirty="0">
                <a:solidFill>
                  <a:srgbClr val="0070C0"/>
                </a:solidFill>
                <a:latin typeface="Source Sans Pro" panose="020B0503030403020204" pitchFamily="34" charset="0"/>
                <a:ea typeface="Source Sans Pro" panose="020B0503030403020204" pitchFamily="34" charset="0"/>
                <a:cs typeface="Arial Black" panose="020B0604020202020204" pitchFamily="34" charset="0"/>
              </a:rPr>
              <a:t>Operational strength</a:t>
            </a:r>
          </a:p>
        </p:txBody>
      </p:sp>
      <p:grpSp>
        <p:nvGrpSpPr>
          <p:cNvPr id="14" name="Gruppieren 2383">
            <a:extLst>
              <a:ext uri="{FF2B5EF4-FFF2-40B4-BE49-F238E27FC236}">
                <a16:creationId xmlns:a16="http://schemas.microsoft.com/office/drawing/2014/main" id="{C82265E2-A17A-34FC-2403-1726317F2345}"/>
              </a:ext>
            </a:extLst>
          </p:cNvPr>
          <p:cNvGrpSpPr/>
          <p:nvPr/>
        </p:nvGrpSpPr>
        <p:grpSpPr>
          <a:xfrm>
            <a:off x="-114082" y="2166193"/>
            <a:ext cx="1892560" cy="1434513"/>
            <a:chOff x="5891763" y="2687359"/>
            <a:chExt cx="1378683" cy="1378683"/>
          </a:xfrm>
        </p:grpSpPr>
        <p:sp>
          <p:nvSpPr>
            <p:cNvPr id="17" name="Ellipse 2380">
              <a:extLst>
                <a:ext uri="{FF2B5EF4-FFF2-40B4-BE49-F238E27FC236}">
                  <a16:creationId xmlns:a16="http://schemas.microsoft.com/office/drawing/2014/main" id="{697AC044-4640-2F11-A835-35F9638C403F}"/>
                </a:ext>
              </a:extLst>
            </p:cNvPr>
            <p:cNvSpPr/>
            <p:nvPr/>
          </p:nvSpPr>
          <p:spPr>
            <a:xfrm>
              <a:off x="5891763" y="2687359"/>
              <a:ext cx="1378683" cy="1378683"/>
            </a:xfrm>
            <a:prstGeom prst="ellipse">
              <a:avLst/>
            </a:prstGeom>
            <a:solidFill>
              <a:schemeClr val="accent4">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dirty="0">
                <a:solidFill>
                  <a:schemeClr val="bg1"/>
                </a:solidFill>
              </a:endParaRPr>
            </a:p>
          </p:txBody>
        </p:sp>
        <p:sp>
          <p:nvSpPr>
            <p:cNvPr id="21" name="Ellipse 2381">
              <a:extLst>
                <a:ext uri="{FF2B5EF4-FFF2-40B4-BE49-F238E27FC236}">
                  <a16:creationId xmlns:a16="http://schemas.microsoft.com/office/drawing/2014/main" id="{AA2A9F0C-AA34-4A50-D8C6-9773624E10D2}"/>
                </a:ext>
              </a:extLst>
            </p:cNvPr>
            <p:cNvSpPr/>
            <p:nvPr/>
          </p:nvSpPr>
          <p:spPr>
            <a:xfrm>
              <a:off x="6025772" y="2821369"/>
              <a:ext cx="1110662" cy="1110662"/>
            </a:xfrm>
            <a:prstGeom prst="ellipse">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sp>
          <p:nvSpPr>
            <p:cNvPr id="22" name="Ellipse 2382">
              <a:extLst>
                <a:ext uri="{FF2B5EF4-FFF2-40B4-BE49-F238E27FC236}">
                  <a16:creationId xmlns:a16="http://schemas.microsoft.com/office/drawing/2014/main" id="{D6A856EB-22E4-2340-782A-869F8B0B3857}"/>
                </a:ext>
              </a:extLst>
            </p:cNvPr>
            <p:cNvSpPr/>
            <p:nvPr/>
          </p:nvSpPr>
          <p:spPr>
            <a:xfrm>
              <a:off x="6188279" y="2983876"/>
              <a:ext cx="785651" cy="78565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a:solidFill>
                  <a:schemeClr val="bg1"/>
                </a:solidFill>
              </a:endParaRPr>
            </a:p>
          </p:txBody>
        </p:sp>
      </p:grpSp>
      <p:sp>
        <p:nvSpPr>
          <p:cNvPr id="8" name="CuadroTexto 7">
            <a:extLst>
              <a:ext uri="{FF2B5EF4-FFF2-40B4-BE49-F238E27FC236}">
                <a16:creationId xmlns:a16="http://schemas.microsoft.com/office/drawing/2014/main" id="{4428EDCA-1008-E3D3-068F-846DE7689D93}"/>
              </a:ext>
            </a:extLst>
          </p:cNvPr>
          <p:cNvSpPr txBox="1"/>
          <p:nvPr/>
        </p:nvSpPr>
        <p:spPr>
          <a:xfrm>
            <a:off x="332958" y="2635275"/>
            <a:ext cx="1892561" cy="523220"/>
          </a:xfrm>
          <a:prstGeom prst="rect">
            <a:avLst/>
          </a:prstGeom>
          <a:noFill/>
        </p:spPr>
        <p:txBody>
          <a:bodyPr wrap="square">
            <a:spAutoFit/>
          </a:bodyPr>
          <a:lstStyle/>
          <a:p>
            <a:pPr algn="just"/>
            <a:r>
              <a:rPr lang="en-US" sz="1400" b="1" dirty="0">
                <a:solidFill>
                  <a:srgbClr val="0070C0"/>
                </a:solidFill>
                <a:latin typeface="Source Sans Pro" panose="020B0503030403020204" pitchFamily="34" charset="0"/>
                <a:ea typeface="Source Sans Pro" panose="020B0503030403020204" pitchFamily="34" charset="0"/>
                <a:cs typeface="Arial Black" panose="020B0604020202020204" pitchFamily="34" charset="0"/>
              </a:rPr>
              <a:t>FINANCIAL STRENGTH </a:t>
            </a:r>
          </a:p>
        </p:txBody>
      </p:sp>
      <p:pic>
        <p:nvPicPr>
          <p:cNvPr id="4" name="Imagen 3" descr="Imagen que contiene objeto, reloj, dibujo&#10;&#10;Descripción generada automáticamente">
            <a:extLst>
              <a:ext uri="{FF2B5EF4-FFF2-40B4-BE49-F238E27FC236}">
                <a16:creationId xmlns:a16="http://schemas.microsoft.com/office/drawing/2014/main" id="{865E34FB-83BE-38A0-0358-D7FDFFF81252}"/>
              </a:ext>
            </a:extLst>
          </p:cNvPr>
          <p:cNvPicPr>
            <a:picLocks noChangeAspect="1"/>
          </p:cNvPicPr>
          <p:nvPr/>
        </p:nvPicPr>
        <p:blipFill>
          <a:blip r:embed="rId7"/>
          <a:stretch>
            <a:fillRect/>
          </a:stretch>
        </p:blipFill>
        <p:spPr>
          <a:xfrm>
            <a:off x="9646323" y="57473"/>
            <a:ext cx="2545677" cy="612000"/>
          </a:xfrm>
          <a:prstGeom prst="rect">
            <a:avLst/>
          </a:prstGeom>
        </p:spPr>
      </p:pic>
      <p:pic>
        <p:nvPicPr>
          <p:cNvPr id="5" name="Picture 11">
            <a:extLst>
              <a:ext uri="{FF2B5EF4-FFF2-40B4-BE49-F238E27FC236}">
                <a16:creationId xmlns:a16="http://schemas.microsoft.com/office/drawing/2014/main" id="{F13855AB-E73C-5ABB-2873-B33021B4498E}"/>
              </a:ext>
            </a:extLst>
          </p:cNvPr>
          <p:cNvPicPr>
            <a:picLocks noChangeAspect="1"/>
          </p:cNvPicPr>
          <p:nvPr/>
        </p:nvPicPr>
        <p:blipFill>
          <a:blip r:embed="rId8" cstate="print">
            <a:duotone>
              <a:prstClr val="black"/>
              <a:srgbClr val="59AF31">
                <a:tint val="45000"/>
                <a:satMod val="400000"/>
              </a:srgbClr>
            </a:duotone>
            <a:extLst>
              <a:ext uri="{28A0092B-C50C-407E-A947-70E740481C1C}">
                <a14:useLocalDpi xmlns:a14="http://schemas.microsoft.com/office/drawing/2010/main" val="0"/>
              </a:ext>
            </a:extLst>
          </a:blip>
          <a:stretch>
            <a:fillRect/>
          </a:stretch>
        </p:blipFill>
        <p:spPr>
          <a:xfrm>
            <a:off x="297713" y="251550"/>
            <a:ext cx="2880000" cy="90024"/>
          </a:xfrm>
          <a:prstGeom prst="rect">
            <a:avLst/>
          </a:prstGeom>
        </p:spPr>
      </p:pic>
    </p:spTree>
    <p:extLst>
      <p:ext uri="{BB962C8B-B14F-4D97-AF65-F5344CB8AC3E}">
        <p14:creationId xmlns:p14="http://schemas.microsoft.com/office/powerpoint/2010/main" val="9964737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C66C37-3F55-E578-D2EB-8CF95B5C1C49}"/>
            </a:ext>
          </a:extLst>
        </p:cNvPr>
        <p:cNvGrpSpPr/>
        <p:nvPr/>
      </p:nvGrpSpPr>
      <p:grpSpPr>
        <a:xfrm>
          <a:off x="0" y="0"/>
          <a:ext cx="0" cy="0"/>
          <a:chOff x="0" y="0"/>
          <a:chExt cx="0" cy="0"/>
        </a:xfrm>
      </p:grpSpPr>
      <p:pic>
        <p:nvPicPr>
          <p:cNvPr id="4" name="Imagen 3" descr="Imagen que contiene objeto, reloj, dibujo&#10;&#10;Descripción generada automáticamente">
            <a:extLst>
              <a:ext uri="{FF2B5EF4-FFF2-40B4-BE49-F238E27FC236}">
                <a16:creationId xmlns:a16="http://schemas.microsoft.com/office/drawing/2014/main" id="{023A73C3-7CB7-EC1A-5FA9-3901A27408D7}"/>
              </a:ext>
            </a:extLst>
          </p:cNvPr>
          <p:cNvPicPr>
            <a:picLocks noChangeAspect="1"/>
          </p:cNvPicPr>
          <p:nvPr/>
        </p:nvPicPr>
        <p:blipFill>
          <a:blip r:embed="rId2"/>
          <a:stretch>
            <a:fillRect/>
          </a:stretch>
        </p:blipFill>
        <p:spPr>
          <a:xfrm>
            <a:off x="9646323" y="57473"/>
            <a:ext cx="2545677" cy="612000"/>
          </a:xfrm>
          <a:prstGeom prst="rect">
            <a:avLst/>
          </a:prstGeom>
        </p:spPr>
      </p:pic>
      <p:pic>
        <p:nvPicPr>
          <p:cNvPr id="13" name="Picture 11">
            <a:extLst>
              <a:ext uri="{FF2B5EF4-FFF2-40B4-BE49-F238E27FC236}">
                <a16:creationId xmlns:a16="http://schemas.microsoft.com/office/drawing/2014/main" id="{DCFF0C10-8372-5BD1-609C-05D87D861172}"/>
              </a:ext>
            </a:extLst>
          </p:cNvPr>
          <p:cNvPicPr>
            <a:picLocks noChangeAspect="1"/>
          </p:cNvPicPr>
          <p:nvPr/>
        </p:nvPicPr>
        <p:blipFill>
          <a:blip r:embed="rId3" cstate="print">
            <a:duotone>
              <a:prstClr val="black"/>
              <a:srgbClr val="59AF31">
                <a:tint val="45000"/>
                <a:satMod val="400000"/>
              </a:srgbClr>
            </a:duotone>
            <a:extLst>
              <a:ext uri="{28A0092B-C50C-407E-A947-70E740481C1C}">
                <a14:useLocalDpi xmlns:a14="http://schemas.microsoft.com/office/drawing/2010/main" val="0"/>
              </a:ext>
            </a:extLst>
          </a:blip>
          <a:stretch>
            <a:fillRect/>
          </a:stretch>
        </p:blipFill>
        <p:spPr>
          <a:xfrm>
            <a:off x="297713" y="251550"/>
            <a:ext cx="2880000" cy="90024"/>
          </a:xfrm>
          <a:prstGeom prst="rect">
            <a:avLst/>
          </a:prstGeom>
        </p:spPr>
      </p:pic>
      <p:graphicFrame>
        <p:nvGraphicFramePr>
          <p:cNvPr id="2" name="Diagrama 1">
            <a:extLst>
              <a:ext uri="{FF2B5EF4-FFF2-40B4-BE49-F238E27FC236}">
                <a16:creationId xmlns:a16="http://schemas.microsoft.com/office/drawing/2014/main" id="{FB0D5478-481D-22CB-1859-96B7C1C95B1C}"/>
              </a:ext>
            </a:extLst>
          </p:cNvPr>
          <p:cNvGraphicFramePr/>
          <p:nvPr>
            <p:extLst>
              <p:ext uri="{D42A27DB-BD31-4B8C-83A1-F6EECF244321}">
                <p14:modId xmlns:p14="http://schemas.microsoft.com/office/powerpoint/2010/main" val="2685959989"/>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CuadroTexto 2">
            <a:extLst>
              <a:ext uri="{FF2B5EF4-FFF2-40B4-BE49-F238E27FC236}">
                <a16:creationId xmlns:a16="http://schemas.microsoft.com/office/drawing/2014/main" id="{934D62F6-EB37-FF7A-0AD3-62E3A5C44FD3}"/>
              </a:ext>
            </a:extLst>
          </p:cNvPr>
          <p:cNvSpPr txBox="1"/>
          <p:nvPr/>
        </p:nvSpPr>
        <p:spPr>
          <a:xfrm>
            <a:off x="297713" y="480190"/>
            <a:ext cx="6910715" cy="478952"/>
          </a:xfrm>
          <a:prstGeom prst="rect">
            <a:avLst/>
          </a:prstGeom>
          <a:noFill/>
          <a:ln>
            <a:noFill/>
          </a:ln>
        </p:spPr>
        <p:txBody>
          <a:bodyPr wrap="square" lIns="0" tIns="0" rIns="0" bIns="0" rtlCol="0">
            <a:noAutofit/>
          </a:bodyPr>
          <a:lstStyle/>
          <a:p>
            <a:pPr algn="l"/>
            <a:r>
              <a:rPr lang="es-ES" sz="3200" b="1" dirty="0">
                <a:solidFill>
                  <a:schemeClr val="accent4">
                    <a:lumMod val="60000"/>
                    <a:lumOff val="40000"/>
                  </a:schemeClr>
                </a:solidFill>
                <a:latin typeface="Source Sans Pro" panose="020B0503030403020204" pitchFamily="34" charset="0"/>
                <a:ea typeface="Source Sans Pro" panose="020B0503030403020204" pitchFamily="34" charset="0"/>
              </a:rPr>
              <a:t>THE </a:t>
            </a:r>
            <a:r>
              <a:rPr lang="es-ES" sz="3200" b="1" u="sng" dirty="0">
                <a:solidFill>
                  <a:schemeClr val="accent4">
                    <a:lumMod val="60000"/>
                    <a:lumOff val="40000"/>
                  </a:schemeClr>
                </a:solidFill>
                <a:latin typeface="Source Sans Pro" panose="020B0503030403020204" pitchFamily="34" charset="0"/>
                <a:ea typeface="Source Sans Pro" panose="020B0503030403020204" pitchFamily="34" charset="0"/>
              </a:rPr>
              <a:t>BIG CHALLENGE</a:t>
            </a:r>
            <a:endParaRPr lang="es-MX" sz="3200" b="1" u="sng" dirty="0">
              <a:solidFill>
                <a:schemeClr val="accent4">
                  <a:lumMod val="60000"/>
                  <a:lumOff val="40000"/>
                </a:schemeClr>
              </a:solidFill>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16821008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55C86B-7E50-3CA5-B4D1-158D63EED213}"/>
            </a:ext>
          </a:extLst>
        </p:cNvPr>
        <p:cNvGrpSpPr/>
        <p:nvPr/>
      </p:nvGrpSpPr>
      <p:grpSpPr>
        <a:xfrm>
          <a:off x="0" y="0"/>
          <a:ext cx="0" cy="0"/>
          <a:chOff x="0" y="0"/>
          <a:chExt cx="0" cy="0"/>
        </a:xfrm>
      </p:grpSpPr>
      <p:pic>
        <p:nvPicPr>
          <p:cNvPr id="4" name="Imagen 3" descr="Imagen que contiene objeto, reloj, dibujo&#10;&#10;Descripción generada automáticamente">
            <a:extLst>
              <a:ext uri="{FF2B5EF4-FFF2-40B4-BE49-F238E27FC236}">
                <a16:creationId xmlns:a16="http://schemas.microsoft.com/office/drawing/2014/main" id="{BB535544-0CDE-931C-58C2-BC828297328D}"/>
              </a:ext>
            </a:extLst>
          </p:cNvPr>
          <p:cNvPicPr>
            <a:picLocks noChangeAspect="1"/>
          </p:cNvPicPr>
          <p:nvPr/>
        </p:nvPicPr>
        <p:blipFill>
          <a:blip r:embed="rId2"/>
          <a:stretch>
            <a:fillRect/>
          </a:stretch>
        </p:blipFill>
        <p:spPr>
          <a:xfrm>
            <a:off x="9646323" y="57473"/>
            <a:ext cx="2545677" cy="612000"/>
          </a:xfrm>
          <a:prstGeom prst="rect">
            <a:avLst/>
          </a:prstGeom>
        </p:spPr>
      </p:pic>
      <p:pic>
        <p:nvPicPr>
          <p:cNvPr id="13" name="Picture 11">
            <a:extLst>
              <a:ext uri="{FF2B5EF4-FFF2-40B4-BE49-F238E27FC236}">
                <a16:creationId xmlns:a16="http://schemas.microsoft.com/office/drawing/2014/main" id="{C3E96D63-5EA4-6D7C-A908-E28B7748ECE4}"/>
              </a:ext>
            </a:extLst>
          </p:cNvPr>
          <p:cNvPicPr>
            <a:picLocks noChangeAspect="1"/>
          </p:cNvPicPr>
          <p:nvPr/>
        </p:nvPicPr>
        <p:blipFill>
          <a:blip r:embed="rId3" cstate="print">
            <a:duotone>
              <a:prstClr val="black"/>
              <a:srgbClr val="59AF31">
                <a:tint val="45000"/>
                <a:satMod val="400000"/>
              </a:srgbClr>
            </a:duotone>
            <a:extLst>
              <a:ext uri="{28A0092B-C50C-407E-A947-70E740481C1C}">
                <a14:useLocalDpi xmlns:a14="http://schemas.microsoft.com/office/drawing/2010/main" val="0"/>
              </a:ext>
            </a:extLst>
          </a:blip>
          <a:stretch>
            <a:fillRect/>
          </a:stretch>
        </p:blipFill>
        <p:spPr>
          <a:xfrm>
            <a:off x="297713" y="251550"/>
            <a:ext cx="2880000" cy="90024"/>
          </a:xfrm>
          <a:prstGeom prst="rect">
            <a:avLst/>
          </a:prstGeom>
        </p:spPr>
      </p:pic>
      <p:sp>
        <p:nvSpPr>
          <p:cNvPr id="5" name="CuadroTexto 4">
            <a:extLst>
              <a:ext uri="{FF2B5EF4-FFF2-40B4-BE49-F238E27FC236}">
                <a16:creationId xmlns:a16="http://schemas.microsoft.com/office/drawing/2014/main" id="{495C38C6-212A-0A10-540D-C11902BADAFB}"/>
              </a:ext>
            </a:extLst>
          </p:cNvPr>
          <p:cNvSpPr txBox="1"/>
          <p:nvPr/>
        </p:nvSpPr>
        <p:spPr>
          <a:xfrm>
            <a:off x="297713" y="356435"/>
            <a:ext cx="6910715" cy="478952"/>
          </a:xfrm>
          <a:prstGeom prst="rect">
            <a:avLst/>
          </a:prstGeom>
          <a:noFill/>
          <a:ln>
            <a:noFill/>
          </a:ln>
        </p:spPr>
        <p:txBody>
          <a:bodyPr wrap="square" lIns="0" tIns="0" rIns="0" bIns="0" rtlCol="0">
            <a:noAutofit/>
          </a:bodyPr>
          <a:lstStyle/>
          <a:p>
            <a:r>
              <a:rPr lang="es-ES" sz="3200" b="1" dirty="0">
                <a:solidFill>
                  <a:srgbClr val="FFCC00">
                    <a:lumMod val="60000"/>
                    <a:lumOff val="40000"/>
                  </a:srgbClr>
                </a:solidFill>
                <a:latin typeface="Source Sans Pro"/>
              </a:rPr>
              <a:t>INSTITUTIONAL CHALLENGES</a:t>
            </a:r>
            <a:endParaRPr lang="es-MX" sz="3200" b="1" dirty="0">
              <a:solidFill>
                <a:srgbClr val="FFCC00">
                  <a:lumMod val="60000"/>
                  <a:lumOff val="40000"/>
                </a:srgbClr>
              </a:solidFill>
              <a:latin typeface="Source Sans Pro"/>
            </a:endParaRPr>
          </a:p>
        </p:txBody>
      </p:sp>
      <p:sp>
        <p:nvSpPr>
          <p:cNvPr id="6" name="CuadroTexto 5">
            <a:extLst>
              <a:ext uri="{FF2B5EF4-FFF2-40B4-BE49-F238E27FC236}">
                <a16:creationId xmlns:a16="http://schemas.microsoft.com/office/drawing/2014/main" id="{229AF9C9-6815-5610-5BC6-C0E268AA2EB8}"/>
              </a:ext>
            </a:extLst>
          </p:cNvPr>
          <p:cNvSpPr txBox="1"/>
          <p:nvPr/>
        </p:nvSpPr>
        <p:spPr>
          <a:xfrm>
            <a:off x="1399948" y="1217719"/>
            <a:ext cx="1553227" cy="478952"/>
          </a:xfrm>
          <a:prstGeom prst="rect">
            <a:avLst/>
          </a:prstGeom>
          <a:noFill/>
          <a:ln>
            <a:noFill/>
          </a:ln>
        </p:spPr>
        <p:txBody>
          <a:bodyPr wrap="square" lIns="0" tIns="0" rIns="0" bIns="0" rtlCol="0">
            <a:noAutofit/>
          </a:bodyPr>
          <a:lstStyle/>
          <a:p>
            <a:r>
              <a:rPr lang="es-ES" sz="2400" b="1" dirty="0">
                <a:solidFill>
                  <a:schemeClr val="tx2"/>
                </a:solidFill>
                <a:latin typeface="Source Sans Pro"/>
              </a:rPr>
              <a:t>LEGAL</a:t>
            </a:r>
            <a:endParaRPr lang="es-MX" sz="2400" b="1" dirty="0">
              <a:solidFill>
                <a:schemeClr val="tx2"/>
              </a:solidFill>
              <a:latin typeface="Source Sans Pro"/>
            </a:endParaRPr>
          </a:p>
        </p:txBody>
      </p:sp>
      <p:sp>
        <p:nvSpPr>
          <p:cNvPr id="7" name="CuadroTexto 6">
            <a:extLst>
              <a:ext uri="{FF2B5EF4-FFF2-40B4-BE49-F238E27FC236}">
                <a16:creationId xmlns:a16="http://schemas.microsoft.com/office/drawing/2014/main" id="{952AE64E-074F-C82C-F046-28A05C84394E}"/>
              </a:ext>
            </a:extLst>
          </p:cNvPr>
          <p:cNvSpPr txBox="1"/>
          <p:nvPr/>
        </p:nvSpPr>
        <p:spPr>
          <a:xfrm>
            <a:off x="5081092" y="1217719"/>
            <a:ext cx="2127336" cy="499560"/>
          </a:xfrm>
          <a:prstGeom prst="rect">
            <a:avLst/>
          </a:prstGeom>
          <a:noFill/>
          <a:ln>
            <a:noFill/>
          </a:ln>
        </p:spPr>
        <p:txBody>
          <a:bodyPr wrap="square" lIns="0" tIns="0" rIns="0" bIns="0" rtlCol="0">
            <a:noAutofit/>
          </a:bodyPr>
          <a:lstStyle/>
          <a:p>
            <a:r>
              <a:rPr lang="es-ES" sz="2400" b="1" dirty="0">
                <a:solidFill>
                  <a:schemeClr val="tx2"/>
                </a:solidFill>
                <a:latin typeface="Source Sans Pro"/>
              </a:rPr>
              <a:t>FINANCIAL</a:t>
            </a:r>
            <a:endParaRPr lang="es-MX" sz="2400" b="1" dirty="0">
              <a:solidFill>
                <a:schemeClr val="tx2"/>
              </a:solidFill>
              <a:latin typeface="Source Sans Pro"/>
            </a:endParaRPr>
          </a:p>
        </p:txBody>
      </p:sp>
      <p:sp>
        <p:nvSpPr>
          <p:cNvPr id="8" name="CuadroTexto 7">
            <a:extLst>
              <a:ext uri="{FF2B5EF4-FFF2-40B4-BE49-F238E27FC236}">
                <a16:creationId xmlns:a16="http://schemas.microsoft.com/office/drawing/2014/main" id="{08E29B5E-3892-1288-D0C4-98EE10D330F4}"/>
              </a:ext>
            </a:extLst>
          </p:cNvPr>
          <p:cNvSpPr txBox="1"/>
          <p:nvPr/>
        </p:nvSpPr>
        <p:spPr>
          <a:xfrm>
            <a:off x="9495588" y="1212395"/>
            <a:ext cx="2567836" cy="739036"/>
          </a:xfrm>
          <a:prstGeom prst="rect">
            <a:avLst/>
          </a:prstGeom>
          <a:noFill/>
          <a:ln>
            <a:noFill/>
          </a:ln>
        </p:spPr>
        <p:txBody>
          <a:bodyPr wrap="square" lIns="0" tIns="0" rIns="0" bIns="0" rtlCol="0">
            <a:noAutofit/>
          </a:bodyPr>
          <a:lstStyle/>
          <a:p>
            <a:r>
              <a:rPr lang="es-ES" sz="2400" b="1" dirty="0">
                <a:solidFill>
                  <a:schemeClr val="tx2"/>
                </a:solidFill>
                <a:latin typeface="Source Sans Pro"/>
              </a:rPr>
              <a:t>OPERATIVE</a:t>
            </a:r>
            <a:endParaRPr lang="es-MX" sz="2400" b="1" dirty="0">
              <a:solidFill>
                <a:schemeClr val="tx2"/>
              </a:solidFill>
              <a:latin typeface="Source Sans Pro"/>
            </a:endParaRPr>
          </a:p>
        </p:txBody>
      </p:sp>
      <p:sp>
        <p:nvSpPr>
          <p:cNvPr id="9" name="Rectángulo: esquinas redondeadas 8">
            <a:extLst>
              <a:ext uri="{FF2B5EF4-FFF2-40B4-BE49-F238E27FC236}">
                <a16:creationId xmlns:a16="http://schemas.microsoft.com/office/drawing/2014/main" id="{1D6CE729-635E-1926-E36B-9F4D98C260FA}"/>
              </a:ext>
            </a:extLst>
          </p:cNvPr>
          <p:cNvSpPr/>
          <p:nvPr/>
        </p:nvSpPr>
        <p:spPr>
          <a:xfrm>
            <a:off x="8444214" y="1581913"/>
            <a:ext cx="3444114" cy="4196220"/>
          </a:xfrm>
          <a:prstGeom prst="roundRect">
            <a:avLst/>
          </a:prstGeom>
          <a:solidFill>
            <a:srgbClr val="FFCC00">
              <a:lumMod val="40000"/>
              <a:lumOff val="60000"/>
            </a:srgbClr>
          </a:solidFill>
          <a:ln w="19050" cap="flat" cmpd="sng" algn="ctr">
            <a:solidFill>
              <a:srgbClr val="FFFFFF"/>
            </a:solidFill>
            <a:prstDash val="solid"/>
            <a:miter lim="800000"/>
          </a:ln>
          <a:effectLst/>
        </p:spPr>
        <p:txBody>
          <a:bodyPr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MX" sz="20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es-MX" sz="2000" kern="0" dirty="0">
              <a:solidFill>
                <a:srgbClr val="0A0A0A"/>
              </a:solidFill>
              <a:latin typeface="Source Sans Pro"/>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20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es-MX" sz="2000" kern="0" dirty="0">
              <a:solidFill>
                <a:srgbClr val="0A0A0A"/>
              </a:solidFill>
              <a:latin typeface="Source Sans Pro"/>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20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20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Renewal of the bus fleet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Absence of training programs and a system for evaluating and providing feedback to driver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Adapting electric vehicle operations to the Yucatán climate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Implementing charging infrastructu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Digitalizing public transportation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Uncertainty regarding drivers, working conditions</a:t>
            </a:r>
            <a:endParaRPr kumimoji="0" lang="es-MX" sz="2000" b="0" i="0" u="none" strike="noStrike" kern="100" cap="none" spc="0" normalizeH="0" baseline="0" noProof="0" dirty="0">
              <a:ln>
                <a:noFill/>
              </a:ln>
              <a:solidFill>
                <a:srgbClr val="CD193C"/>
              </a:solidFill>
              <a:effectLst/>
              <a:uLnTx/>
              <a:uFillTx/>
              <a:latin typeface="Source Sans Pro"/>
              <a:ea typeface="Calibri" panose="020F0502020204030204" pitchFamily="34" charset="0"/>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CD193C"/>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CD193C"/>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16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ES" sz="16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ES" sz="16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s-MX" sz="16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0" name="Rectángulo: esquinas redondeadas 9">
            <a:extLst>
              <a:ext uri="{FF2B5EF4-FFF2-40B4-BE49-F238E27FC236}">
                <a16:creationId xmlns:a16="http://schemas.microsoft.com/office/drawing/2014/main" id="{FC162A66-69C0-1742-6519-6E9ADFB723AF}"/>
              </a:ext>
            </a:extLst>
          </p:cNvPr>
          <p:cNvSpPr/>
          <p:nvPr/>
        </p:nvSpPr>
        <p:spPr>
          <a:xfrm>
            <a:off x="314558" y="1581914"/>
            <a:ext cx="3294129" cy="4196219"/>
          </a:xfrm>
          <a:prstGeom prst="roundRect">
            <a:avLst/>
          </a:prstGeom>
          <a:solidFill>
            <a:srgbClr val="FFCC00">
              <a:lumMod val="40000"/>
              <a:lumOff val="60000"/>
            </a:srgbClr>
          </a:solidFill>
          <a:ln w="19050" cap="flat" cmpd="sng" algn="ctr">
            <a:solidFill>
              <a:srgbClr val="FFFFFF"/>
            </a:solidFill>
            <a:prstDash val="solid"/>
            <a:miter lim="800000"/>
          </a:ln>
          <a:effectLst/>
        </p:spPr>
        <p:txBody>
          <a:bodyPr lIns="0" tIns="0" rIns="0" bIns="0" rtlCol="0" anchor="ct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Establishing legal certainty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Creating an autonomous agency independent of government change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Revising the concession model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Establishing financial foundations</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Gaining key powers, such as defining tariffs and managing concessions</a:t>
            </a:r>
          </a:p>
        </p:txBody>
      </p:sp>
      <p:sp>
        <p:nvSpPr>
          <p:cNvPr id="11" name="Rectángulo: esquinas redondeadas 10">
            <a:extLst>
              <a:ext uri="{FF2B5EF4-FFF2-40B4-BE49-F238E27FC236}">
                <a16:creationId xmlns:a16="http://schemas.microsoft.com/office/drawing/2014/main" id="{B4BF2EE8-627E-F97C-9BB0-E34D6CE1E24C}"/>
              </a:ext>
            </a:extLst>
          </p:cNvPr>
          <p:cNvSpPr/>
          <p:nvPr/>
        </p:nvSpPr>
        <p:spPr>
          <a:xfrm>
            <a:off x="4271623" y="1581914"/>
            <a:ext cx="3601711" cy="4196219"/>
          </a:xfrm>
          <a:prstGeom prst="roundRect">
            <a:avLst/>
          </a:prstGeom>
          <a:solidFill>
            <a:srgbClr val="05BCFF"/>
          </a:solidFill>
          <a:ln w="12700" cap="flat" cmpd="sng" algn="ctr">
            <a:noFill/>
            <a:prstDash val="solid"/>
            <a:miter lim="800000"/>
          </a:ln>
          <a:effectLst/>
        </p:spPr>
        <p:txBody>
          <a:bodyPr lIns="0" tIns="0" rIns="0" bIns="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A0A0A"/>
              </a:solidFill>
              <a:effectLst/>
              <a:uLnTx/>
              <a:uFillTx/>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rPr>
              <a:t>   </a:t>
            </a:r>
            <a:endParaRPr kumimoji="0" lang="en-US"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ource Sans Pro"/>
                <a:ea typeface="+mn-ea"/>
                <a:cs typeface="Arial" panose="020B0604020202020204" pitchFamily="34" charset="0"/>
              </a:rPr>
              <a:t>Creating a trust fund to provide financial certainty and security for both banks and concessionaires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ource Sans Pro"/>
                <a:ea typeface="+mn-ea"/>
                <a:cs typeface="Arial" panose="020B0604020202020204" pitchFamily="34" charset="0"/>
              </a:rPr>
              <a:t>A 10-year concession model that secures credit for the fleet</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ource Sans Pro"/>
                <a:ea typeface="+mn-ea"/>
                <a:cs typeface="Arial" panose="020B0604020202020204" pitchFamily="34" charset="0"/>
              </a:rPr>
              <a:t>Securing financing for fleet renovation</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b="0" i="0" u="none" strike="noStrike" kern="0" cap="none" spc="0" normalizeH="0" baseline="0" noProof="0" dirty="0">
                <a:ln>
                  <a:noFill/>
                </a:ln>
                <a:solidFill>
                  <a:srgbClr val="FFFFFF"/>
                </a:solidFill>
                <a:effectLst/>
                <a:uLnTx/>
                <a:uFillTx/>
                <a:latin typeface="Source Sans Pro"/>
                <a:ea typeface="+mn-ea"/>
                <a:cs typeface="Arial" panose="020B0604020202020204" pitchFamily="34" charset="0"/>
              </a:rPr>
              <a:t>Establishing a centralized fare collection system with payments based on kilometers</a:t>
            </a:r>
            <a:endParaRPr kumimoji="0" lang="en-US" sz="2000" b="0" i="0" u="none" strike="noStrike" kern="0" cap="none" spc="0" normalizeH="0" baseline="0" noProof="0" dirty="0">
              <a:ln>
                <a:noFill/>
              </a:ln>
              <a:solidFill>
                <a:srgbClr val="0A0A0A"/>
              </a:solidFill>
              <a:effectLst/>
              <a:uLnTx/>
              <a:uFillTx/>
              <a:latin typeface="Arial" panose="020B0604020202020204" pitchFamily="34" charset="0"/>
              <a:ea typeface="+mn-ea"/>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600" b="0" i="0" u="none" strike="noStrike" kern="0" cap="none" spc="0" normalizeH="0" baseline="0" noProof="0" dirty="0">
              <a:ln>
                <a:noFill/>
              </a:ln>
              <a:solidFill>
                <a:srgbClr val="0A0A0A"/>
              </a:solidFill>
              <a:effectLst/>
              <a:uLnTx/>
              <a:uFillTx/>
              <a:latin typeface="Source Sans Pro"/>
              <a:ea typeface="+mn-ea"/>
              <a:cs typeface="Arial" panose="020B0604020202020204" pitchFamily="34" charset="0"/>
            </a:endParaRPr>
          </a:p>
        </p:txBody>
      </p:sp>
      <p:sp>
        <p:nvSpPr>
          <p:cNvPr id="12" name="Freihandform: Form 693">
            <a:extLst>
              <a:ext uri="{FF2B5EF4-FFF2-40B4-BE49-F238E27FC236}">
                <a16:creationId xmlns:a16="http://schemas.microsoft.com/office/drawing/2014/main" id="{F577E4C3-5DC9-D070-2CFF-3EC7ED8A8159}"/>
              </a:ext>
            </a:extLst>
          </p:cNvPr>
          <p:cNvSpPr/>
          <p:nvPr/>
        </p:nvSpPr>
        <p:spPr>
          <a:xfrm>
            <a:off x="10840579" y="5493165"/>
            <a:ext cx="1302706" cy="956151"/>
          </a:xfrm>
          <a:custGeom>
            <a:avLst/>
            <a:gdLst>
              <a:gd name="connsiteX0" fmla="*/ 18527 w 533489"/>
              <a:gd name="connsiteY0" fmla="*/ 340037 h 389472"/>
              <a:gd name="connsiteX1" fmla="*/ 22084 w 533489"/>
              <a:gd name="connsiteY1" fmla="*/ 356720 h 389472"/>
              <a:gd name="connsiteX2" fmla="*/ 210135 w 533489"/>
              <a:gd name="connsiteY2" fmla="*/ 356720 h 389472"/>
              <a:gd name="connsiteX3" fmla="*/ 211975 w 533489"/>
              <a:gd name="connsiteY3" fmla="*/ 340037 h 389472"/>
              <a:gd name="connsiteX4" fmla="*/ 110284 w 533489"/>
              <a:gd name="connsiteY4" fmla="*/ 256254 h 389472"/>
              <a:gd name="connsiteX5" fmla="*/ 118748 w 533489"/>
              <a:gd name="connsiteY5" fmla="*/ 258339 h 389472"/>
              <a:gd name="connsiteX6" fmla="*/ 137639 w 533489"/>
              <a:gd name="connsiteY6" fmla="*/ 275022 h 389472"/>
              <a:gd name="connsiteX7" fmla="*/ 156529 w 533489"/>
              <a:gd name="connsiteY7" fmla="*/ 258339 h 389472"/>
              <a:gd name="connsiteX8" fmla="*/ 164993 w 533489"/>
              <a:gd name="connsiteY8" fmla="*/ 256254 h 389472"/>
              <a:gd name="connsiteX9" fmla="*/ 214429 w 533489"/>
              <a:gd name="connsiteY9" fmla="*/ 311823 h 389472"/>
              <a:gd name="connsiteX10" fmla="*/ 195906 w 533489"/>
              <a:gd name="connsiteY10" fmla="*/ 311823 h 389472"/>
              <a:gd name="connsiteX11" fmla="*/ 164993 w 533489"/>
              <a:gd name="connsiteY11" fmla="*/ 275513 h 389472"/>
              <a:gd name="connsiteX12" fmla="*/ 143895 w 533489"/>
              <a:gd name="connsiteY12" fmla="*/ 294281 h 389472"/>
              <a:gd name="connsiteX13" fmla="*/ 131628 w 533489"/>
              <a:gd name="connsiteY13" fmla="*/ 294281 h 389472"/>
              <a:gd name="connsiteX14" fmla="*/ 110406 w 533489"/>
              <a:gd name="connsiteY14" fmla="*/ 275513 h 389472"/>
              <a:gd name="connsiteX15" fmla="*/ 79494 w 533489"/>
              <a:gd name="connsiteY15" fmla="*/ 311823 h 389472"/>
              <a:gd name="connsiteX16" fmla="*/ 60971 w 533489"/>
              <a:gd name="connsiteY16" fmla="*/ 311823 h 389472"/>
              <a:gd name="connsiteX17" fmla="*/ 110284 w 533489"/>
              <a:gd name="connsiteY17" fmla="*/ 256254 h 389472"/>
              <a:gd name="connsiteX18" fmla="*/ 137639 w 533489"/>
              <a:gd name="connsiteY18" fmla="*/ 175661 h 389472"/>
              <a:gd name="connsiteX19" fmla="*/ 106726 w 533489"/>
              <a:gd name="connsiteY19" fmla="*/ 206573 h 389472"/>
              <a:gd name="connsiteX20" fmla="*/ 137639 w 533489"/>
              <a:gd name="connsiteY20" fmla="*/ 237486 h 389472"/>
              <a:gd name="connsiteX21" fmla="*/ 168551 w 533489"/>
              <a:gd name="connsiteY21" fmla="*/ 206573 h 389472"/>
              <a:gd name="connsiteX22" fmla="*/ 137639 w 533489"/>
              <a:gd name="connsiteY22" fmla="*/ 175661 h 389472"/>
              <a:gd name="connsiteX23" fmla="*/ 137761 w 533489"/>
              <a:gd name="connsiteY23" fmla="*/ 157261 h 389472"/>
              <a:gd name="connsiteX24" fmla="*/ 187073 w 533489"/>
              <a:gd name="connsiteY24" fmla="*/ 206574 h 389472"/>
              <a:gd name="connsiteX25" fmla="*/ 137761 w 533489"/>
              <a:gd name="connsiteY25" fmla="*/ 255886 h 389472"/>
              <a:gd name="connsiteX26" fmla="*/ 88325 w 533489"/>
              <a:gd name="connsiteY26" fmla="*/ 206574 h 389472"/>
              <a:gd name="connsiteX27" fmla="*/ 137761 w 533489"/>
              <a:gd name="connsiteY27" fmla="*/ 157261 h 389472"/>
              <a:gd name="connsiteX28" fmla="*/ 39626 w 533489"/>
              <a:gd name="connsiteY28" fmla="*/ 134322 h 389472"/>
              <a:gd name="connsiteX29" fmla="*/ 223015 w 533489"/>
              <a:gd name="connsiteY29" fmla="*/ 134322 h 389472"/>
              <a:gd name="connsiteX30" fmla="*/ 223015 w 533489"/>
              <a:gd name="connsiteY30" fmla="*/ 152845 h 389472"/>
              <a:gd name="connsiteX31" fmla="*/ 42693 w 533489"/>
              <a:gd name="connsiteY31" fmla="*/ 152845 h 389472"/>
              <a:gd name="connsiteX32" fmla="*/ 42693 w 533489"/>
              <a:gd name="connsiteY32" fmla="*/ 321514 h 389472"/>
              <a:gd name="connsiteX33" fmla="*/ 217250 w 533489"/>
              <a:gd name="connsiteY33" fmla="*/ 321514 h 389472"/>
              <a:gd name="connsiteX34" fmla="*/ 371689 w 533489"/>
              <a:gd name="connsiteY34" fmla="*/ 239081 h 389472"/>
              <a:gd name="connsiteX35" fmla="*/ 533489 w 533489"/>
              <a:gd name="connsiteY35" fmla="*/ 360277 h 389472"/>
              <a:gd name="connsiteX36" fmla="*/ 533489 w 533489"/>
              <a:gd name="connsiteY36" fmla="*/ 389472 h 389472"/>
              <a:gd name="connsiteX37" fmla="*/ 514966 w 533489"/>
              <a:gd name="connsiteY37" fmla="*/ 389472 h 389472"/>
              <a:gd name="connsiteX38" fmla="*/ 514966 w 533489"/>
              <a:gd name="connsiteY38" fmla="*/ 360277 h 389472"/>
              <a:gd name="connsiteX39" fmla="*/ 371812 w 533489"/>
              <a:gd name="connsiteY39" fmla="*/ 257358 h 389472"/>
              <a:gd name="connsiteX40" fmla="*/ 228658 w 533489"/>
              <a:gd name="connsiteY40" fmla="*/ 360277 h 389472"/>
              <a:gd name="connsiteX41" fmla="*/ 228658 w 533489"/>
              <a:gd name="connsiteY41" fmla="*/ 389472 h 389472"/>
              <a:gd name="connsiteX42" fmla="*/ 210135 w 533489"/>
              <a:gd name="connsiteY42" fmla="*/ 389472 h 389472"/>
              <a:gd name="connsiteX43" fmla="*/ 210135 w 533489"/>
              <a:gd name="connsiteY43" fmla="*/ 374997 h 389472"/>
              <a:gd name="connsiteX44" fmla="*/ 15829 w 533489"/>
              <a:gd name="connsiteY44" fmla="*/ 374997 h 389472"/>
              <a:gd name="connsiteX45" fmla="*/ 7242 w 533489"/>
              <a:gd name="connsiteY45" fmla="*/ 369232 h 389472"/>
              <a:gd name="connsiteX46" fmla="*/ 127 w 533489"/>
              <a:gd name="connsiteY46" fmla="*/ 330223 h 389472"/>
              <a:gd name="connsiteX47" fmla="*/ 9327 w 533489"/>
              <a:gd name="connsiteY47" fmla="*/ 321391 h 389472"/>
              <a:gd name="connsiteX48" fmla="*/ 24293 w 533489"/>
              <a:gd name="connsiteY48" fmla="*/ 321391 h 389472"/>
              <a:gd name="connsiteX49" fmla="*/ 24293 w 533489"/>
              <a:gd name="connsiteY49" fmla="*/ 149656 h 389472"/>
              <a:gd name="connsiteX50" fmla="*/ 39626 w 533489"/>
              <a:gd name="connsiteY50" fmla="*/ 134322 h 389472"/>
              <a:gd name="connsiteX51" fmla="*/ 481723 w 533489"/>
              <a:gd name="connsiteY51" fmla="*/ 100711 h 389472"/>
              <a:gd name="connsiteX52" fmla="*/ 472523 w 533489"/>
              <a:gd name="connsiteY52" fmla="*/ 109911 h 389472"/>
              <a:gd name="connsiteX53" fmla="*/ 472523 w 533489"/>
              <a:gd name="connsiteY53" fmla="*/ 155421 h 389472"/>
              <a:gd name="connsiteX54" fmla="*/ 481723 w 533489"/>
              <a:gd name="connsiteY54" fmla="*/ 164621 h 389472"/>
              <a:gd name="connsiteX55" fmla="*/ 490923 w 533489"/>
              <a:gd name="connsiteY55" fmla="*/ 155421 h 389472"/>
              <a:gd name="connsiteX56" fmla="*/ 490923 w 533489"/>
              <a:gd name="connsiteY56" fmla="*/ 109911 h 389472"/>
              <a:gd name="connsiteX57" fmla="*/ 481723 w 533489"/>
              <a:gd name="connsiteY57" fmla="*/ 100711 h 389472"/>
              <a:gd name="connsiteX58" fmla="*/ 261901 w 533489"/>
              <a:gd name="connsiteY58" fmla="*/ 100711 h 389472"/>
              <a:gd name="connsiteX59" fmla="*/ 252701 w 533489"/>
              <a:gd name="connsiteY59" fmla="*/ 109911 h 389472"/>
              <a:gd name="connsiteX60" fmla="*/ 252701 w 533489"/>
              <a:gd name="connsiteY60" fmla="*/ 155421 h 389472"/>
              <a:gd name="connsiteX61" fmla="*/ 261901 w 533489"/>
              <a:gd name="connsiteY61" fmla="*/ 164621 h 389472"/>
              <a:gd name="connsiteX62" fmla="*/ 271101 w 533489"/>
              <a:gd name="connsiteY62" fmla="*/ 155421 h 389472"/>
              <a:gd name="connsiteX63" fmla="*/ 271101 w 533489"/>
              <a:gd name="connsiteY63" fmla="*/ 109911 h 389472"/>
              <a:gd name="connsiteX64" fmla="*/ 261901 w 533489"/>
              <a:gd name="connsiteY64" fmla="*/ 100711 h 389472"/>
              <a:gd name="connsiteX65" fmla="*/ 371689 w 533489"/>
              <a:gd name="connsiteY65" fmla="*/ 52625 h 389472"/>
              <a:gd name="connsiteX66" fmla="*/ 294040 w 533489"/>
              <a:gd name="connsiteY66" fmla="*/ 130274 h 389472"/>
              <a:gd name="connsiteX67" fmla="*/ 371689 w 533489"/>
              <a:gd name="connsiteY67" fmla="*/ 207923 h 389472"/>
              <a:gd name="connsiteX68" fmla="*/ 449461 w 533489"/>
              <a:gd name="connsiteY68" fmla="*/ 130274 h 389472"/>
              <a:gd name="connsiteX69" fmla="*/ 371689 w 533489"/>
              <a:gd name="connsiteY69" fmla="*/ 52625 h 389472"/>
              <a:gd name="connsiteX70" fmla="*/ 371076 w 533489"/>
              <a:gd name="connsiteY70" fmla="*/ 18523 h 389472"/>
              <a:gd name="connsiteX71" fmla="*/ 270979 w 533489"/>
              <a:gd name="connsiteY71" fmla="*/ 83905 h 389472"/>
              <a:gd name="connsiteX72" fmla="*/ 283368 w 533489"/>
              <a:gd name="connsiteY72" fmla="*/ 92492 h 389472"/>
              <a:gd name="connsiteX73" fmla="*/ 371812 w 533489"/>
              <a:gd name="connsiteY73" fmla="*/ 34102 h 389472"/>
              <a:gd name="connsiteX74" fmla="*/ 460256 w 533489"/>
              <a:gd name="connsiteY74" fmla="*/ 92492 h 389472"/>
              <a:gd name="connsiteX75" fmla="*/ 472400 w 533489"/>
              <a:gd name="connsiteY75" fmla="*/ 83905 h 389472"/>
              <a:gd name="connsiteX76" fmla="*/ 371076 w 533489"/>
              <a:gd name="connsiteY76" fmla="*/ 18523 h 389472"/>
              <a:gd name="connsiteX77" fmla="*/ 371075 w 533489"/>
              <a:gd name="connsiteY77" fmla="*/ 0 h 389472"/>
              <a:gd name="connsiteX78" fmla="*/ 492640 w 533489"/>
              <a:gd name="connsiteY78" fmla="*/ 84518 h 389472"/>
              <a:gd name="connsiteX79" fmla="*/ 509323 w 533489"/>
              <a:gd name="connsiteY79" fmla="*/ 109911 h 389472"/>
              <a:gd name="connsiteX80" fmla="*/ 509323 w 533489"/>
              <a:gd name="connsiteY80" fmla="*/ 155421 h 389472"/>
              <a:gd name="connsiteX81" fmla="*/ 481600 w 533489"/>
              <a:gd name="connsiteY81" fmla="*/ 183144 h 389472"/>
              <a:gd name="connsiteX82" fmla="*/ 458783 w 533489"/>
              <a:gd name="connsiteY82" fmla="*/ 171000 h 389472"/>
              <a:gd name="connsiteX83" fmla="*/ 371689 w 533489"/>
              <a:gd name="connsiteY83" fmla="*/ 226200 h 389472"/>
              <a:gd name="connsiteX84" fmla="*/ 284717 w 533489"/>
              <a:gd name="connsiteY84" fmla="*/ 171000 h 389472"/>
              <a:gd name="connsiteX85" fmla="*/ 261901 w 533489"/>
              <a:gd name="connsiteY85" fmla="*/ 183144 h 389472"/>
              <a:gd name="connsiteX86" fmla="*/ 234178 w 533489"/>
              <a:gd name="connsiteY86" fmla="*/ 155421 h 389472"/>
              <a:gd name="connsiteX87" fmla="*/ 234178 w 533489"/>
              <a:gd name="connsiteY87" fmla="*/ 109911 h 389472"/>
              <a:gd name="connsiteX88" fmla="*/ 250615 w 533489"/>
              <a:gd name="connsiteY88" fmla="*/ 84641 h 389472"/>
              <a:gd name="connsiteX89" fmla="*/ 371075 w 533489"/>
              <a:gd name="connsiteY89" fmla="*/ 0 h 389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33489" h="389472">
                <a:moveTo>
                  <a:pt x="18527" y="340037"/>
                </a:moveTo>
                <a:cubicBezTo>
                  <a:pt x="18895" y="345680"/>
                  <a:pt x="19876" y="350464"/>
                  <a:pt x="22084" y="356720"/>
                </a:cubicBezTo>
                <a:lnTo>
                  <a:pt x="210135" y="356720"/>
                </a:lnTo>
                <a:cubicBezTo>
                  <a:pt x="210380" y="350955"/>
                  <a:pt x="210993" y="345434"/>
                  <a:pt x="211975" y="340037"/>
                </a:cubicBezTo>
                <a:close/>
                <a:moveTo>
                  <a:pt x="110284" y="256254"/>
                </a:moveTo>
                <a:cubicBezTo>
                  <a:pt x="113351" y="255518"/>
                  <a:pt x="116417" y="256254"/>
                  <a:pt x="118748" y="258339"/>
                </a:cubicBezTo>
                <a:lnTo>
                  <a:pt x="137639" y="275022"/>
                </a:lnTo>
                <a:lnTo>
                  <a:pt x="156529" y="258339"/>
                </a:lnTo>
                <a:cubicBezTo>
                  <a:pt x="158860" y="256254"/>
                  <a:pt x="162050" y="255518"/>
                  <a:pt x="164993" y="256254"/>
                </a:cubicBezTo>
                <a:cubicBezTo>
                  <a:pt x="195906" y="264105"/>
                  <a:pt x="214429" y="284958"/>
                  <a:pt x="214429" y="311823"/>
                </a:cubicBezTo>
                <a:lnTo>
                  <a:pt x="195906" y="311823"/>
                </a:lnTo>
                <a:cubicBezTo>
                  <a:pt x="195906" y="289252"/>
                  <a:pt x="176893" y="279438"/>
                  <a:pt x="164993" y="275513"/>
                </a:cubicBezTo>
                <a:lnTo>
                  <a:pt x="143895" y="294281"/>
                </a:lnTo>
                <a:cubicBezTo>
                  <a:pt x="140338" y="297348"/>
                  <a:pt x="135063" y="297348"/>
                  <a:pt x="131628" y="294281"/>
                </a:cubicBezTo>
                <a:lnTo>
                  <a:pt x="110406" y="275513"/>
                </a:lnTo>
                <a:cubicBezTo>
                  <a:pt x="98508" y="279438"/>
                  <a:pt x="79494" y="289252"/>
                  <a:pt x="79494" y="311823"/>
                </a:cubicBezTo>
                <a:lnTo>
                  <a:pt x="60971" y="311823"/>
                </a:lnTo>
                <a:cubicBezTo>
                  <a:pt x="60971" y="284958"/>
                  <a:pt x="79494" y="264105"/>
                  <a:pt x="110284" y="256254"/>
                </a:cubicBezTo>
                <a:close/>
                <a:moveTo>
                  <a:pt x="137639" y="175661"/>
                </a:moveTo>
                <a:cubicBezTo>
                  <a:pt x="120588" y="175661"/>
                  <a:pt x="106726" y="189522"/>
                  <a:pt x="106726" y="206573"/>
                </a:cubicBezTo>
                <a:cubicBezTo>
                  <a:pt x="106726" y="223624"/>
                  <a:pt x="120588" y="237486"/>
                  <a:pt x="137639" y="237486"/>
                </a:cubicBezTo>
                <a:cubicBezTo>
                  <a:pt x="154689" y="237486"/>
                  <a:pt x="168551" y="223624"/>
                  <a:pt x="168551" y="206573"/>
                </a:cubicBezTo>
                <a:cubicBezTo>
                  <a:pt x="168551" y="189522"/>
                  <a:pt x="154689" y="175661"/>
                  <a:pt x="137639" y="175661"/>
                </a:cubicBezTo>
                <a:close/>
                <a:moveTo>
                  <a:pt x="137761" y="157261"/>
                </a:moveTo>
                <a:cubicBezTo>
                  <a:pt x="164870" y="157261"/>
                  <a:pt x="187073" y="179341"/>
                  <a:pt x="187073" y="206574"/>
                </a:cubicBezTo>
                <a:cubicBezTo>
                  <a:pt x="187073" y="233806"/>
                  <a:pt x="164993" y="255886"/>
                  <a:pt x="137761" y="255886"/>
                </a:cubicBezTo>
                <a:cubicBezTo>
                  <a:pt x="110528" y="255886"/>
                  <a:pt x="88325" y="233806"/>
                  <a:pt x="88325" y="206574"/>
                </a:cubicBezTo>
                <a:cubicBezTo>
                  <a:pt x="88325" y="179464"/>
                  <a:pt x="110651" y="157261"/>
                  <a:pt x="137761" y="157261"/>
                </a:cubicBezTo>
                <a:close/>
                <a:moveTo>
                  <a:pt x="39626" y="134322"/>
                </a:moveTo>
                <a:lnTo>
                  <a:pt x="223015" y="134322"/>
                </a:lnTo>
                <a:lnTo>
                  <a:pt x="223015" y="152845"/>
                </a:lnTo>
                <a:lnTo>
                  <a:pt x="42693" y="152845"/>
                </a:lnTo>
                <a:lnTo>
                  <a:pt x="42693" y="321514"/>
                </a:lnTo>
                <a:lnTo>
                  <a:pt x="217250" y="321514"/>
                </a:lnTo>
                <a:cubicBezTo>
                  <a:pt x="236877" y="271588"/>
                  <a:pt x="295021" y="239081"/>
                  <a:pt x="371689" y="239081"/>
                </a:cubicBezTo>
                <a:cubicBezTo>
                  <a:pt x="466880" y="239081"/>
                  <a:pt x="533366" y="289007"/>
                  <a:pt x="533489" y="360277"/>
                </a:cubicBezTo>
                <a:lnTo>
                  <a:pt x="533489" y="389472"/>
                </a:lnTo>
                <a:lnTo>
                  <a:pt x="514966" y="389472"/>
                </a:lnTo>
                <a:lnTo>
                  <a:pt x="514966" y="360277"/>
                </a:lnTo>
                <a:cubicBezTo>
                  <a:pt x="514966" y="289129"/>
                  <a:pt x="443082" y="257358"/>
                  <a:pt x="371812" y="257358"/>
                </a:cubicBezTo>
                <a:cubicBezTo>
                  <a:pt x="300541" y="257358"/>
                  <a:pt x="228658" y="289129"/>
                  <a:pt x="228658" y="360277"/>
                </a:cubicBezTo>
                <a:lnTo>
                  <a:pt x="228658" y="389472"/>
                </a:lnTo>
                <a:lnTo>
                  <a:pt x="210135" y="389472"/>
                </a:lnTo>
                <a:lnTo>
                  <a:pt x="210135" y="374997"/>
                </a:lnTo>
                <a:lnTo>
                  <a:pt x="15829" y="374997"/>
                </a:lnTo>
                <a:cubicBezTo>
                  <a:pt x="12026" y="374997"/>
                  <a:pt x="8591" y="372667"/>
                  <a:pt x="7242" y="369232"/>
                </a:cubicBezTo>
                <a:cubicBezTo>
                  <a:pt x="986" y="353653"/>
                  <a:pt x="-487" y="345311"/>
                  <a:pt x="127" y="330223"/>
                </a:cubicBezTo>
                <a:cubicBezTo>
                  <a:pt x="250" y="325317"/>
                  <a:pt x="4420" y="321391"/>
                  <a:pt x="9327" y="321391"/>
                </a:cubicBezTo>
                <a:lnTo>
                  <a:pt x="24293" y="321391"/>
                </a:lnTo>
                <a:lnTo>
                  <a:pt x="24293" y="149656"/>
                </a:lnTo>
                <a:cubicBezTo>
                  <a:pt x="24293" y="141192"/>
                  <a:pt x="31162" y="134322"/>
                  <a:pt x="39626" y="134322"/>
                </a:cubicBezTo>
                <a:close/>
                <a:moveTo>
                  <a:pt x="481723" y="100711"/>
                </a:moveTo>
                <a:cubicBezTo>
                  <a:pt x="476694" y="100711"/>
                  <a:pt x="472523" y="104759"/>
                  <a:pt x="472523" y="109911"/>
                </a:cubicBezTo>
                <a:lnTo>
                  <a:pt x="472523" y="155421"/>
                </a:lnTo>
                <a:cubicBezTo>
                  <a:pt x="472523" y="160450"/>
                  <a:pt x="476571" y="164621"/>
                  <a:pt x="481723" y="164621"/>
                </a:cubicBezTo>
                <a:cubicBezTo>
                  <a:pt x="486753" y="164621"/>
                  <a:pt x="490923" y="160450"/>
                  <a:pt x="490923" y="155421"/>
                </a:cubicBezTo>
                <a:lnTo>
                  <a:pt x="490923" y="109911"/>
                </a:lnTo>
                <a:cubicBezTo>
                  <a:pt x="490923" y="104882"/>
                  <a:pt x="486753" y="100711"/>
                  <a:pt x="481723" y="100711"/>
                </a:cubicBezTo>
                <a:close/>
                <a:moveTo>
                  <a:pt x="261901" y="100711"/>
                </a:moveTo>
                <a:cubicBezTo>
                  <a:pt x="256872" y="100711"/>
                  <a:pt x="252701" y="104759"/>
                  <a:pt x="252701" y="109911"/>
                </a:cubicBezTo>
                <a:lnTo>
                  <a:pt x="252701" y="155421"/>
                </a:lnTo>
                <a:cubicBezTo>
                  <a:pt x="252701" y="160450"/>
                  <a:pt x="256872" y="164621"/>
                  <a:pt x="261901" y="164621"/>
                </a:cubicBezTo>
                <a:cubicBezTo>
                  <a:pt x="266931" y="164621"/>
                  <a:pt x="271101" y="160450"/>
                  <a:pt x="271101" y="155421"/>
                </a:cubicBezTo>
                <a:lnTo>
                  <a:pt x="271101" y="109911"/>
                </a:lnTo>
                <a:cubicBezTo>
                  <a:pt x="271101" y="104882"/>
                  <a:pt x="266931" y="100711"/>
                  <a:pt x="261901" y="100711"/>
                </a:cubicBezTo>
                <a:close/>
                <a:moveTo>
                  <a:pt x="371689" y="52625"/>
                </a:moveTo>
                <a:cubicBezTo>
                  <a:pt x="328878" y="52625"/>
                  <a:pt x="294040" y="87463"/>
                  <a:pt x="294040" y="130274"/>
                </a:cubicBezTo>
                <a:cubicBezTo>
                  <a:pt x="294040" y="173085"/>
                  <a:pt x="328878" y="207923"/>
                  <a:pt x="371689" y="207923"/>
                </a:cubicBezTo>
                <a:cubicBezTo>
                  <a:pt x="414623" y="207923"/>
                  <a:pt x="449461" y="172963"/>
                  <a:pt x="449461" y="130274"/>
                </a:cubicBezTo>
                <a:cubicBezTo>
                  <a:pt x="449461" y="87463"/>
                  <a:pt x="414500" y="52625"/>
                  <a:pt x="371689" y="52625"/>
                </a:cubicBezTo>
                <a:close/>
                <a:moveTo>
                  <a:pt x="371076" y="18523"/>
                </a:moveTo>
                <a:cubicBezTo>
                  <a:pt x="326915" y="18523"/>
                  <a:pt x="288766" y="43793"/>
                  <a:pt x="270979" y="83905"/>
                </a:cubicBezTo>
                <a:cubicBezTo>
                  <a:pt x="275886" y="85500"/>
                  <a:pt x="280179" y="88567"/>
                  <a:pt x="283368" y="92492"/>
                </a:cubicBezTo>
                <a:cubicBezTo>
                  <a:pt x="298088" y="58267"/>
                  <a:pt x="332190" y="34102"/>
                  <a:pt x="371812" y="34102"/>
                </a:cubicBezTo>
                <a:cubicBezTo>
                  <a:pt x="411434" y="34102"/>
                  <a:pt x="445536" y="58145"/>
                  <a:pt x="460256" y="92492"/>
                </a:cubicBezTo>
                <a:cubicBezTo>
                  <a:pt x="463445" y="88567"/>
                  <a:pt x="467616" y="85622"/>
                  <a:pt x="472400" y="83905"/>
                </a:cubicBezTo>
                <a:cubicBezTo>
                  <a:pt x="454123" y="43793"/>
                  <a:pt x="415605" y="18523"/>
                  <a:pt x="371076" y="18523"/>
                </a:cubicBezTo>
                <a:close/>
                <a:moveTo>
                  <a:pt x="371075" y="0"/>
                </a:moveTo>
                <a:cubicBezTo>
                  <a:pt x="426031" y="0"/>
                  <a:pt x="473136" y="32998"/>
                  <a:pt x="492640" y="84518"/>
                </a:cubicBezTo>
                <a:cubicBezTo>
                  <a:pt x="502453" y="88689"/>
                  <a:pt x="509323" y="98503"/>
                  <a:pt x="509323" y="109911"/>
                </a:cubicBezTo>
                <a:lnTo>
                  <a:pt x="509323" y="155421"/>
                </a:lnTo>
                <a:cubicBezTo>
                  <a:pt x="509323" y="170754"/>
                  <a:pt x="496810" y="183144"/>
                  <a:pt x="481600" y="183144"/>
                </a:cubicBezTo>
                <a:cubicBezTo>
                  <a:pt x="472154" y="183144"/>
                  <a:pt x="463813" y="178237"/>
                  <a:pt x="458783" y="171000"/>
                </a:cubicBezTo>
                <a:cubicBezTo>
                  <a:pt x="443327" y="203629"/>
                  <a:pt x="410084" y="226200"/>
                  <a:pt x="371689" y="226200"/>
                </a:cubicBezTo>
                <a:cubicBezTo>
                  <a:pt x="333294" y="226200"/>
                  <a:pt x="300173" y="203629"/>
                  <a:pt x="284717" y="171000"/>
                </a:cubicBezTo>
                <a:cubicBezTo>
                  <a:pt x="279810" y="178360"/>
                  <a:pt x="271346" y="183144"/>
                  <a:pt x="261901" y="183144"/>
                </a:cubicBezTo>
                <a:cubicBezTo>
                  <a:pt x="246567" y="183144"/>
                  <a:pt x="234178" y="170754"/>
                  <a:pt x="234178" y="155421"/>
                </a:cubicBezTo>
                <a:lnTo>
                  <a:pt x="234178" y="109911"/>
                </a:lnTo>
                <a:cubicBezTo>
                  <a:pt x="234178" y="98625"/>
                  <a:pt x="240925" y="88935"/>
                  <a:pt x="250615" y="84641"/>
                </a:cubicBezTo>
                <a:cubicBezTo>
                  <a:pt x="269752" y="33120"/>
                  <a:pt x="316488" y="0"/>
                  <a:pt x="371075" y="0"/>
                </a:cubicBezTo>
                <a:close/>
              </a:path>
            </a:pathLst>
          </a:custGeom>
          <a:gradFill rotWithShape="1">
            <a:gsLst>
              <a:gs pos="0">
                <a:srgbClr val="0082D2">
                  <a:satMod val="103000"/>
                  <a:lumMod val="102000"/>
                  <a:tint val="94000"/>
                </a:srgbClr>
              </a:gs>
              <a:gs pos="50000">
                <a:srgbClr val="0082D2">
                  <a:satMod val="110000"/>
                  <a:lumMod val="100000"/>
                  <a:shade val="100000"/>
                </a:srgbClr>
              </a:gs>
              <a:gs pos="100000">
                <a:srgbClr val="0082D2">
                  <a:lumMod val="99000"/>
                  <a:satMod val="120000"/>
                  <a:shade val="78000"/>
                </a:srgbClr>
              </a:gs>
            </a:gsLst>
            <a:lin ang="5400000" scaled="0"/>
          </a:gradFill>
          <a:ln w="6350" cap="flat" cmpd="sng" algn="ctr">
            <a:solidFill>
              <a:srgbClr val="0082D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1" i="0" u="none" strike="noStrike" kern="0" cap="none" spc="0" normalizeH="0" baseline="0" noProof="0" dirty="0">
              <a:ln w="22225">
                <a:solidFill>
                  <a:srgbClr val="05BCFF"/>
                </a:solidFill>
                <a:prstDash val="solid"/>
              </a:ln>
              <a:solidFill>
                <a:srgbClr val="05BCFF">
                  <a:lumMod val="40000"/>
                  <a:lumOff val="60000"/>
                </a:srgbClr>
              </a:solidFill>
              <a:effectLst/>
              <a:uLnTx/>
              <a:uFillTx/>
              <a:latin typeface="Source Sans Pro"/>
              <a:ea typeface="+mn-ea"/>
              <a:cs typeface="+mn-cs"/>
            </a:endParaRPr>
          </a:p>
        </p:txBody>
      </p:sp>
      <p:sp>
        <p:nvSpPr>
          <p:cNvPr id="14" name="Freihandform: Form 704">
            <a:extLst>
              <a:ext uri="{FF2B5EF4-FFF2-40B4-BE49-F238E27FC236}">
                <a16:creationId xmlns:a16="http://schemas.microsoft.com/office/drawing/2014/main" id="{36BCD7B9-FD88-C5E0-E832-889AF346BFCA}"/>
              </a:ext>
            </a:extLst>
          </p:cNvPr>
          <p:cNvSpPr/>
          <p:nvPr/>
        </p:nvSpPr>
        <p:spPr>
          <a:xfrm>
            <a:off x="2745702" y="5432701"/>
            <a:ext cx="955041" cy="956151"/>
          </a:xfrm>
          <a:custGeom>
            <a:avLst/>
            <a:gdLst>
              <a:gd name="connsiteX0" fmla="*/ 337828 w 380152"/>
              <a:gd name="connsiteY0" fmla="*/ 257726 h 380885"/>
              <a:gd name="connsiteX1" fmla="*/ 339668 w 380152"/>
              <a:gd name="connsiteY1" fmla="*/ 270606 h 380885"/>
              <a:gd name="connsiteX2" fmla="*/ 292932 w 380152"/>
              <a:gd name="connsiteY2" fmla="*/ 334148 h 380885"/>
              <a:gd name="connsiteX3" fmla="*/ 286798 w 380152"/>
              <a:gd name="connsiteY3" fmla="*/ 337828 h 380885"/>
              <a:gd name="connsiteX4" fmla="*/ 285571 w 380152"/>
              <a:gd name="connsiteY4" fmla="*/ 337951 h 380885"/>
              <a:gd name="connsiteX5" fmla="*/ 279929 w 380152"/>
              <a:gd name="connsiteY5" fmla="*/ 335988 h 380885"/>
              <a:gd name="connsiteX6" fmla="*/ 245213 w 380152"/>
              <a:gd name="connsiteY6" fmla="*/ 308878 h 380885"/>
              <a:gd name="connsiteX7" fmla="*/ 243619 w 380152"/>
              <a:gd name="connsiteY7" fmla="*/ 295875 h 380885"/>
              <a:gd name="connsiteX8" fmla="*/ 256622 w 380152"/>
              <a:gd name="connsiteY8" fmla="*/ 294281 h 380885"/>
              <a:gd name="connsiteX9" fmla="*/ 283854 w 380152"/>
              <a:gd name="connsiteY9" fmla="*/ 315625 h 380885"/>
              <a:gd name="connsiteX10" fmla="*/ 324948 w 380152"/>
              <a:gd name="connsiteY10" fmla="*/ 259688 h 380885"/>
              <a:gd name="connsiteX11" fmla="*/ 337828 w 380152"/>
              <a:gd name="connsiteY11" fmla="*/ 257726 h 380885"/>
              <a:gd name="connsiteX12" fmla="*/ 293791 w 380152"/>
              <a:gd name="connsiteY12" fmla="*/ 225832 h 380885"/>
              <a:gd name="connsiteX13" fmla="*/ 225587 w 380152"/>
              <a:gd name="connsiteY13" fmla="*/ 294035 h 380885"/>
              <a:gd name="connsiteX14" fmla="*/ 293791 w 380152"/>
              <a:gd name="connsiteY14" fmla="*/ 362239 h 380885"/>
              <a:gd name="connsiteX15" fmla="*/ 361994 w 380152"/>
              <a:gd name="connsiteY15" fmla="*/ 294035 h 380885"/>
              <a:gd name="connsiteX16" fmla="*/ 293791 w 380152"/>
              <a:gd name="connsiteY16" fmla="*/ 225832 h 380885"/>
              <a:gd name="connsiteX17" fmla="*/ 167319 w 380152"/>
              <a:gd name="connsiteY17" fmla="*/ 69676 h 380885"/>
              <a:gd name="connsiteX18" fmla="*/ 70043 w 380152"/>
              <a:gd name="connsiteY18" fmla="*/ 79244 h 380885"/>
              <a:gd name="connsiteX19" fmla="*/ 70166 w 380152"/>
              <a:gd name="connsiteY19" fmla="*/ 153458 h 380885"/>
              <a:gd name="connsiteX20" fmla="*/ 167319 w 380152"/>
              <a:gd name="connsiteY20" fmla="*/ 298575 h 380885"/>
              <a:gd name="connsiteX21" fmla="*/ 176520 w 380152"/>
              <a:gd name="connsiteY21" fmla="*/ 51030 h 380885"/>
              <a:gd name="connsiteX22" fmla="*/ 185720 w 380152"/>
              <a:gd name="connsiteY22" fmla="*/ 60230 h 380885"/>
              <a:gd name="connsiteX23" fmla="*/ 185720 w 380152"/>
              <a:gd name="connsiteY23" fmla="*/ 312436 h 380885"/>
              <a:gd name="connsiteX24" fmla="*/ 181672 w 380152"/>
              <a:gd name="connsiteY24" fmla="*/ 320042 h 380885"/>
              <a:gd name="connsiteX25" fmla="*/ 176520 w 380152"/>
              <a:gd name="connsiteY25" fmla="*/ 321636 h 380885"/>
              <a:gd name="connsiteX26" fmla="*/ 173085 w 380152"/>
              <a:gd name="connsiteY26" fmla="*/ 321023 h 380885"/>
              <a:gd name="connsiteX27" fmla="*/ 51644 w 380152"/>
              <a:gd name="connsiteY27" fmla="*/ 153335 h 380885"/>
              <a:gd name="connsiteX28" fmla="*/ 51521 w 380152"/>
              <a:gd name="connsiteY28" fmla="*/ 71761 h 380885"/>
              <a:gd name="connsiteX29" fmla="*/ 58636 w 380152"/>
              <a:gd name="connsiteY29" fmla="*/ 62806 h 380885"/>
              <a:gd name="connsiteX30" fmla="*/ 176520 w 380152"/>
              <a:gd name="connsiteY30" fmla="*/ 51030 h 380885"/>
              <a:gd name="connsiteX31" fmla="*/ 173821 w 380152"/>
              <a:gd name="connsiteY31" fmla="*/ 18400 h 380885"/>
              <a:gd name="connsiteX32" fmla="*/ 18523 w 380152"/>
              <a:gd name="connsiteY32" fmla="*/ 41216 h 380885"/>
              <a:gd name="connsiteX33" fmla="*/ 18646 w 380152"/>
              <a:gd name="connsiteY33" fmla="*/ 154317 h 380885"/>
              <a:gd name="connsiteX34" fmla="*/ 177256 w 380152"/>
              <a:gd name="connsiteY34" fmla="*/ 357333 h 380885"/>
              <a:gd name="connsiteX35" fmla="*/ 219454 w 380152"/>
              <a:gd name="connsiteY35" fmla="*/ 338319 h 380885"/>
              <a:gd name="connsiteX36" fmla="*/ 207187 w 380152"/>
              <a:gd name="connsiteY36" fmla="*/ 294036 h 380885"/>
              <a:gd name="connsiteX37" fmla="*/ 293791 w 380152"/>
              <a:gd name="connsiteY37" fmla="*/ 207432 h 380885"/>
              <a:gd name="connsiteX38" fmla="*/ 327279 w 380152"/>
              <a:gd name="connsiteY38" fmla="*/ 214179 h 380885"/>
              <a:gd name="connsiteX39" fmla="*/ 335866 w 380152"/>
              <a:gd name="connsiteY39" fmla="*/ 154317 h 380885"/>
              <a:gd name="connsiteX40" fmla="*/ 335988 w 380152"/>
              <a:gd name="connsiteY40" fmla="*/ 41707 h 380885"/>
              <a:gd name="connsiteX41" fmla="*/ 173821 w 380152"/>
              <a:gd name="connsiteY41" fmla="*/ 18400 h 380885"/>
              <a:gd name="connsiteX42" fmla="*/ 173821 w 380152"/>
              <a:gd name="connsiteY42" fmla="*/ 0 h 380885"/>
              <a:gd name="connsiteX43" fmla="*/ 348255 w 380152"/>
              <a:gd name="connsiteY43" fmla="*/ 26496 h 380885"/>
              <a:gd name="connsiteX44" fmla="*/ 354511 w 380152"/>
              <a:gd name="connsiteY44" fmla="*/ 35206 h 380885"/>
              <a:gd name="connsiteX45" fmla="*/ 354389 w 380152"/>
              <a:gd name="connsiteY45" fmla="*/ 154440 h 380885"/>
              <a:gd name="connsiteX46" fmla="*/ 343716 w 380152"/>
              <a:gd name="connsiteY46" fmla="*/ 223502 h 380885"/>
              <a:gd name="connsiteX47" fmla="*/ 380149 w 380152"/>
              <a:gd name="connsiteY47" fmla="*/ 294281 h 380885"/>
              <a:gd name="connsiteX48" fmla="*/ 293545 w 380152"/>
              <a:gd name="connsiteY48" fmla="*/ 380885 h 380885"/>
              <a:gd name="connsiteX49" fmla="*/ 230494 w 380152"/>
              <a:gd name="connsiteY49" fmla="*/ 353407 h 380885"/>
              <a:gd name="connsiteX50" fmla="*/ 180200 w 380152"/>
              <a:gd name="connsiteY50" fmla="*/ 375978 h 380885"/>
              <a:gd name="connsiteX51" fmla="*/ 177256 w 380152"/>
              <a:gd name="connsiteY51" fmla="*/ 376469 h 380885"/>
              <a:gd name="connsiteX52" fmla="*/ 174680 w 380152"/>
              <a:gd name="connsiteY52" fmla="*/ 376101 h 380885"/>
              <a:gd name="connsiteX53" fmla="*/ 123 w 380152"/>
              <a:gd name="connsiteY53" fmla="*/ 154440 h 380885"/>
              <a:gd name="connsiteX54" fmla="*/ 0 w 380152"/>
              <a:gd name="connsiteY54" fmla="*/ 34838 h 380885"/>
              <a:gd name="connsiteX55" fmla="*/ 6011 w 380152"/>
              <a:gd name="connsiteY55" fmla="*/ 26128 h 380885"/>
              <a:gd name="connsiteX56" fmla="*/ 173821 w 380152"/>
              <a:gd name="connsiteY56" fmla="*/ 0 h 380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80152" h="380885">
                <a:moveTo>
                  <a:pt x="337828" y="257726"/>
                </a:moveTo>
                <a:cubicBezTo>
                  <a:pt x="341999" y="260793"/>
                  <a:pt x="342857" y="266558"/>
                  <a:pt x="339668" y="270606"/>
                </a:cubicBezTo>
                <a:lnTo>
                  <a:pt x="292932" y="334148"/>
                </a:lnTo>
                <a:cubicBezTo>
                  <a:pt x="291459" y="336111"/>
                  <a:pt x="289252" y="337460"/>
                  <a:pt x="286798" y="337828"/>
                </a:cubicBezTo>
                <a:cubicBezTo>
                  <a:pt x="286430" y="337951"/>
                  <a:pt x="285939" y="337951"/>
                  <a:pt x="285571" y="337951"/>
                </a:cubicBezTo>
                <a:cubicBezTo>
                  <a:pt x="283609" y="337951"/>
                  <a:pt x="281523" y="337215"/>
                  <a:pt x="279929" y="335988"/>
                </a:cubicBezTo>
                <a:lnTo>
                  <a:pt x="245213" y="308878"/>
                </a:lnTo>
                <a:cubicBezTo>
                  <a:pt x="241165" y="305689"/>
                  <a:pt x="240429" y="299924"/>
                  <a:pt x="243619" y="295875"/>
                </a:cubicBezTo>
                <a:cubicBezTo>
                  <a:pt x="246808" y="291828"/>
                  <a:pt x="252574" y="291092"/>
                  <a:pt x="256622" y="294281"/>
                </a:cubicBezTo>
                <a:lnTo>
                  <a:pt x="283854" y="315625"/>
                </a:lnTo>
                <a:lnTo>
                  <a:pt x="324948" y="259688"/>
                </a:lnTo>
                <a:cubicBezTo>
                  <a:pt x="327892" y="255641"/>
                  <a:pt x="333780" y="254659"/>
                  <a:pt x="337828" y="257726"/>
                </a:cubicBezTo>
                <a:close/>
                <a:moveTo>
                  <a:pt x="293791" y="225832"/>
                </a:moveTo>
                <a:cubicBezTo>
                  <a:pt x="256132" y="225832"/>
                  <a:pt x="225587" y="256499"/>
                  <a:pt x="225587" y="294035"/>
                </a:cubicBezTo>
                <a:cubicBezTo>
                  <a:pt x="225587" y="331695"/>
                  <a:pt x="256254" y="362239"/>
                  <a:pt x="293791" y="362239"/>
                </a:cubicBezTo>
                <a:cubicBezTo>
                  <a:pt x="331450" y="362239"/>
                  <a:pt x="361994" y="331695"/>
                  <a:pt x="361994" y="294035"/>
                </a:cubicBezTo>
                <a:cubicBezTo>
                  <a:pt x="361994" y="256376"/>
                  <a:pt x="331327" y="225832"/>
                  <a:pt x="293791" y="225832"/>
                </a:cubicBezTo>
                <a:close/>
                <a:moveTo>
                  <a:pt x="167319" y="69676"/>
                </a:moveTo>
                <a:cubicBezTo>
                  <a:pt x="122790" y="70167"/>
                  <a:pt x="90774" y="74828"/>
                  <a:pt x="70043" y="79244"/>
                </a:cubicBezTo>
                <a:lnTo>
                  <a:pt x="70166" y="153458"/>
                </a:lnTo>
                <a:cubicBezTo>
                  <a:pt x="70166" y="237854"/>
                  <a:pt x="126225" y="279439"/>
                  <a:pt x="167319" y="298575"/>
                </a:cubicBezTo>
                <a:close/>
                <a:moveTo>
                  <a:pt x="176520" y="51030"/>
                </a:moveTo>
                <a:cubicBezTo>
                  <a:pt x="181672" y="51030"/>
                  <a:pt x="185720" y="55201"/>
                  <a:pt x="185720" y="60230"/>
                </a:cubicBezTo>
                <a:lnTo>
                  <a:pt x="185720" y="312436"/>
                </a:lnTo>
                <a:cubicBezTo>
                  <a:pt x="185720" y="315503"/>
                  <a:pt x="184248" y="318324"/>
                  <a:pt x="181672" y="320042"/>
                </a:cubicBezTo>
                <a:cubicBezTo>
                  <a:pt x="180200" y="321145"/>
                  <a:pt x="178360" y="321636"/>
                  <a:pt x="176520" y="321636"/>
                </a:cubicBezTo>
                <a:cubicBezTo>
                  <a:pt x="175293" y="321636"/>
                  <a:pt x="174189" y="321391"/>
                  <a:pt x="173085" y="321023"/>
                </a:cubicBezTo>
                <a:cubicBezTo>
                  <a:pt x="127821" y="303236"/>
                  <a:pt x="51644" y="257726"/>
                  <a:pt x="51644" y="153335"/>
                </a:cubicBezTo>
                <a:lnTo>
                  <a:pt x="51521" y="71761"/>
                </a:lnTo>
                <a:cubicBezTo>
                  <a:pt x="51521" y="67467"/>
                  <a:pt x="54465" y="63787"/>
                  <a:pt x="58636" y="62806"/>
                </a:cubicBezTo>
                <a:cubicBezTo>
                  <a:pt x="81084" y="57409"/>
                  <a:pt x="119724" y="51030"/>
                  <a:pt x="176520" y="51030"/>
                </a:cubicBezTo>
                <a:close/>
                <a:moveTo>
                  <a:pt x="173821" y="18400"/>
                </a:moveTo>
                <a:cubicBezTo>
                  <a:pt x="94823" y="18400"/>
                  <a:pt x="47841" y="30790"/>
                  <a:pt x="18523" y="41216"/>
                </a:cubicBezTo>
                <a:lnTo>
                  <a:pt x="18646" y="154317"/>
                </a:lnTo>
                <a:cubicBezTo>
                  <a:pt x="18646" y="295630"/>
                  <a:pt x="136407" y="344575"/>
                  <a:pt x="177256" y="357333"/>
                </a:cubicBezTo>
                <a:cubicBezTo>
                  <a:pt x="186578" y="354143"/>
                  <a:pt x="202035" y="348010"/>
                  <a:pt x="219454" y="338319"/>
                </a:cubicBezTo>
                <a:cubicBezTo>
                  <a:pt x="211725" y="325316"/>
                  <a:pt x="207187" y="310228"/>
                  <a:pt x="207187" y="294036"/>
                </a:cubicBezTo>
                <a:cubicBezTo>
                  <a:pt x="207187" y="246318"/>
                  <a:pt x="246073" y="207432"/>
                  <a:pt x="293791" y="207432"/>
                </a:cubicBezTo>
                <a:cubicBezTo>
                  <a:pt x="305689" y="207432"/>
                  <a:pt x="316975" y="209885"/>
                  <a:pt x="327279" y="214179"/>
                </a:cubicBezTo>
                <a:cubicBezTo>
                  <a:pt x="332922" y="195410"/>
                  <a:pt x="335866" y="175293"/>
                  <a:pt x="335866" y="154317"/>
                </a:cubicBezTo>
                <a:lnTo>
                  <a:pt x="335988" y="41707"/>
                </a:lnTo>
                <a:cubicBezTo>
                  <a:pt x="288271" y="26251"/>
                  <a:pt x="233683" y="18400"/>
                  <a:pt x="173821" y="18400"/>
                </a:cubicBezTo>
                <a:close/>
                <a:moveTo>
                  <a:pt x="173821" y="0"/>
                </a:moveTo>
                <a:cubicBezTo>
                  <a:pt x="238467" y="0"/>
                  <a:pt x="297103" y="8955"/>
                  <a:pt x="348255" y="26496"/>
                </a:cubicBezTo>
                <a:cubicBezTo>
                  <a:pt x="352058" y="27723"/>
                  <a:pt x="354511" y="31280"/>
                  <a:pt x="354511" y="35206"/>
                </a:cubicBezTo>
                <a:lnTo>
                  <a:pt x="354389" y="154440"/>
                </a:lnTo>
                <a:cubicBezTo>
                  <a:pt x="354389" y="178728"/>
                  <a:pt x="350708" y="201912"/>
                  <a:pt x="343716" y="223502"/>
                </a:cubicBezTo>
                <a:cubicBezTo>
                  <a:pt x="365920" y="239203"/>
                  <a:pt x="380394" y="264963"/>
                  <a:pt x="380149" y="294281"/>
                </a:cubicBezTo>
                <a:cubicBezTo>
                  <a:pt x="380149" y="341999"/>
                  <a:pt x="341263" y="380885"/>
                  <a:pt x="293545" y="380885"/>
                </a:cubicBezTo>
                <a:cubicBezTo>
                  <a:pt x="268644" y="380885"/>
                  <a:pt x="246318" y="370213"/>
                  <a:pt x="230494" y="353407"/>
                </a:cubicBezTo>
                <a:cubicBezTo>
                  <a:pt x="208904" y="365551"/>
                  <a:pt x="190013" y="372666"/>
                  <a:pt x="180200" y="375978"/>
                </a:cubicBezTo>
                <a:cubicBezTo>
                  <a:pt x="179218" y="376346"/>
                  <a:pt x="178237" y="376469"/>
                  <a:pt x="177256" y="376469"/>
                </a:cubicBezTo>
                <a:cubicBezTo>
                  <a:pt x="176397" y="376469"/>
                  <a:pt x="175538" y="376346"/>
                  <a:pt x="174680" y="376101"/>
                </a:cubicBezTo>
                <a:cubicBezTo>
                  <a:pt x="145607" y="367391"/>
                  <a:pt x="123" y="315994"/>
                  <a:pt x="123" y="154440"/>
                </a:cubicBezTo>
                <a:lnTo>
                  <a:pt x="0" y="34838"/>
                </a:lnTo>
                <a:cubicBezTo>
                  <a:pt x="0" y="30912"/>
                  <a:pt x="2453" y="27478"/>
                  <a:pt x="6011" y="26128"/>
                </a:cubicBezTo>
                <a:cubicBezTo>
                  <a:pt x="36064" y="14965"/>
                  <a:pt x="86236" y="0"/>
                  <a:pt x="173821" y="0"/>
                </a:cubicBezTo>
                <a:close/>
              </a:path>
            </a:pathLst>
          </a:custGeom>
          <a:gradFill rotWithShape="1">
            <a:gsLst>
              <a:gs pos="0">
                <a:srgbClr val="0082D2">
                  <a:satMod val="103000"/>
                  <a:lumMod val="102000"/>
                  <a:tint val="94000"/>
                </a:srgbClr>
              </a:gs>
              <a:gs pos="50000">
                <a:srgbClr val="0082D2">
                  <a:satMod val="110000"/>
                  <a:lumMod val="100000"/>
                  <a:shade val="100000"/>
                </a:srgbClr>
              </a:gs>
              <a:gs pos="100000">
                <a:srgbClr val="0082D2">
                  <a:lumMod val="99000"/>
                  <a:satMod val="120000"/>
                  <a:shade val="78000"/>
                </a:srgbClr>
              </a:gs>
            </a:gsLst>
            <a:lin ang="5400000" scaled="0"/>
          </a:gradFill>
          <a:ln w="6350" cap="flat" cmpd="sng" algn="ctr">
            <a:solidFill>
              <a:srgbClr val="0082D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Source Sans Pro"/>
              <a:ea typeface="+mn-ea"/>
              <a:cs typeface="+mn-cs"/>
            </a:endParaRPr>
          </a:p>
        </p:txBody>
      </p:sp>
      <p:sp>
        <p:nvSpPr>
          <p:cNvPr id="15" name="Freihandform: Form 701">
            <a:extLst>
              <a:ext uri="{FF2B5EF4-FFF2-40B4-BE49-F238E27FC236}">
                <a16:creationId xmlns:a16="http://schemas.microsoft.com/office/drawing/2014/main" id="{5D126410-50D2-EC5E-66F9-A1213077FCB0}"/>
              </a:ext>
            </a:extLst>
          </p:cNvPr>
          <p:cNvSpPr/>
          <p:nvPr/>
        </p:nvSpPr>
        <p:spPr>
          <a:xfrm>
            <a:off x="7002466" y="5493165"/>
            <a:ext cx="1073961" cy="1008400"/>
          </a:xfrm>
          <a:custGeom>
            <a:avLst/>
            <a:gdLst>
              <a:gd name="connsiteX0" fmla="*/ 208414 w 442096"/>
              <a:gd name="connsiteY0" fmla="*/ 120583 h 435350"/>
              <a:gd name="connsiteX1" fmla="*/ 193080 w 442096"/>
              <a:gd name="connsiteY1" fmla="*/ 135917 h 435350"/>
              <a:gd name="connsiteX2" fmla="*/ 208414 w 442096"/>
              <a:gd name="connsiteY2" fmla="*/ 151250 h 435350"/>
              <a:gd name="connsiteX3" fmla="*/ 298207 w 442096"/>
              <a:gd name="connsiteY3" fmla="*/ 151250 h 435350"/>
              <a:gd name="connsiteX4" fmla="*/ 308265 w 442096"/>
              <a:gd name="connsiteY4" fmla="*/ 161309 h 435350"/>
              <a:gd name="connsiteX5" fmla="*/ 308265 w 442096"/>
              <a:gd name="connsiteY5" fmla="*/ 399776 h 435350"/>
              <a:gd name="connsiteX6" fmla="*/ 323599 w 442096"/>
              <a:gd name="connsiteY6" fmla="*/ 415109 h 435350"/>
              <a:gd name="connsiteX7" fmla="*/ 336356 w 442096"/>
              <a:gd name="connsiteY7" fmla="*/ 407872 h 435350"/>
              <a:gd name="connsiteX8" fmla="*/ 336356 w 442096"/>
              <a:gd name="connsiteY8" fmla="*/ 264964 h 435350"/>
              <a:gd name="connsiteX9" fmla="*/ 346415 w 442096"/>
              <a:gd name="connsiteY9" fmla="*/ 254905 h 435350"/>
              <a:gd name="connsiteX10" fmla="*/ 356474 w 442096"/>
              <a:gd name="connsiteY10" fmla="*/ 264964 h 435350"/>
              <a:gd name="connsiteX11" fmla="*/ 356474 w 442096"/>
              <a:gd name="connsiteY11" fmla="*/ 407872 h 435350"/>
              <a:gd name="connsiteX12" fmla="*/ 369232 w 442096"/>
              <a:gd name="connsiteY12" fmla="*/ 415109 h 435350"/>
              <a:gd name="connsiteX13" fmla="*/ 384565 w 442096"/>
              <a:gd name="connsiteY13" fmla="*/ 399776 h 435350"/>
              <a:gd name="connsiteX14" fmla="*/ 384565 w 442096"/>
              <a:gd name="connsiteY14" fmla="*/ 161309 h 435350"/>
              <a:gd name="connsiteX15" fmla="*/ 394624 w 442096"/>
              <a:gd name="connsiteY15" fmla="*/ 151250 h 435350"/>
              <a:gd name="connsiteX16" fmla="*/ 404683 w 442096"/>
              <a:gd name="connsiteY16" fmla="*/ 161309 h 435350"/>
              <a:gd name="connsiteX17" fmla="*/ 404683 w 442096"/>
              <a:gd name="connsiteY17" fmla="*/ 265454 h 435350"/>
              <a:gd name="connsiteX18" fmla="*/ 421979 w 442096"/>
              <a:gd name="connsiteY18" fmla="*/ 244600 h 435350"/>
              <a:gd name="connsiteX19" fmla="*/ 421979 w 442096"/>
              <a:gd name="connsiteY19" fmla="*/ 135917 h 435350"/>
              <a:gd name="connsiteX20" fmla="*/ 406646 w 442096"/>
              <a:gd name="connsiteY20" fmla="*/ 120583 h 435350"/>
              <a:gd name="connsiteX21" fmla="*/ 394624 w 442096"/>
              <a:gd name="connsiteY21" fmla="*/ 120583 h 435350"/>
              <a:gd name="connsiteX22" fmla="*/ 393888 w 442096"/>
              <a:gd name="connsiteY22" fmla="*/ 120583 h 435350"/>
              <a:gd name="connsiteX23" fmla="*/ 375242 w 442096"/>
              <a:gd name="connsiteY23" fmla="*/ 120583 h 435350"/>
              <a:gd name="connsiteX24" fmla="*/ 354879 w 442096"/>
              <a:gd name="connsiteY24" fmla="*/ 152231 h 435350"/>
              <a:gd name="connsiteX25" fmla="*/ 346415 w 442096"/>
              <a:gd name="connsiteY25" fmla="*/ 156893 h 435350"/>
              <a:gd name="connsiteX26" fmla="*/ 337951 w 442096"/>
              <a:gd name="connsiteY26" fmla="*/ 152231 h 435350"/>
              <a:gd name="connsiteX27" fmla="*/ 317588 w 442096"/>
              <a:gd name="connsiteY27" fmla="*/ 120583 h 435350"/>
              <a:gd name="connsiteX28" fmla="*/ 298942 w 442096"/>
              <a:gd name="connsiteY28" fmla="*/ 120583 h 435350"/>
              <a:gd name="connsiteX29" fmla="*/ 298207 w 442096"/>
              <a:gd name="connsiteY29" fmla="*/ 120583 h 435350"/>
              <a:gd name="connsiteX30" fmla="*/ 208168 w 442096"/>
              <a:gd name="connsiteY30" fmla="*/ 100220 h 435350"/>
              <a:gd name="connsiteX31" fmla="*/ 297225 w 442096"/>
              <a:gd name="connsiteY31" fmla="*/ 100220 h 435350"/>
              <a:gd name="connsiteX32" fmla="*/ 297961 w 442096"/>
              <a:gd name="connsiteY32" fmla="*/ 100220 h 435350"/>
              <a:gd name="connsiteX33" fmla="*/ 323108 w 442096"/>
              <a:gd name="connsiteY33" fmla="*/ 100220 h 435350"/>
              <a:gd name="connsiteX34" fmla="*/ 331572 w 442096"/>
              <a:gd name="connsiteY34" fmla="*/ 104881 h 435350"/>
              <a:gd name="connsiteX35" fmla="*/ 346415 w 442096"/>
              <a:gd name="connsiteY35" fmla="*/ 127943 h 435350"/>
              <a:gd name="connsiteX36" fmla="*/ 361258 w 442096"/>
              <a:gd name="connsiteY36" fmla="*/ 104881 h 435350"/>
              <a:gd name="connsiteX37" fmla="*/ 369722 w 442096"/>
              <a:gd name="connsiteY37" fmla="*/ 100220 h 435350"/>
              <a:gd name="connsiteX38" fmla="*/ 394623 w 442096"/>
              <a:gd name="connsiteY38" fmla="*/ 100220 h 435350"/>
              <a:gd name="connsiteX39" fmla="*/ 395359 w 442096"/>
              <a:gd name="connsiteY39" fmla="*/ 100220 h 435350"/>
              <a:gd name="connsiteX40" fmla="*/ 406645 w 442096"/>
              <a:gd name="connsiteY40" fmla="*/ 100220 h 435350"/>
              <a:gd name="connsiteX41" fmla="*/ 442096 w 442096"/>
              <a:gd name="connsiteY41" fmla="*/ 135671 h 435350"/>
              <a:gd name="connsiteX42" fmla="*/ 442096 w 442096"/>
              <a:gd name="connsiteY42" fmla="*/ 244478 h 435350"/>
              <a:gd name="connsiteX43" fmla="*/ 404560 w 442096"/>
              <a:gd name="connsiteY43" fmla="*/ 285817 h 435350"/>
              <a:gd name="connsiteX44" fmla="*/ 404560 w 442096"/>
              <a:gd name="connsiteY44" fmla="*/ 399776 h 435350"/>
              <a:gd name="connsiteX45" fmla="*/ 368986 w 442096"/>
              <a:gd name="connsiteY45" fmla="*/ 435350 h 435350"/>
              <a:gd name="connsiteX46" fmla="*/ 346169 w 442096"/>
              <a:gd name="connsiteY46" fmla="*/ 427008 h 435350"/>
              <a:gd name="connsiteX47" fmla="*/ 323353 w 442096"/>
              <a:gd name="connsiteY47" fmla="*/ 435350 h 435350"/>
              <a:gd name="connsiteX48" fmla="*/ 287780 w 442096"/>
              <a:gd name="connsiteY48" fmla="*/ 399776 h 435350"/>
              <a:gd name="connsiteX49" fmla="*/ 287780 w 442096"/>
              <a:gd name="connsiteY49" fmla="*/ 171368 h 435350"/>
              <a:gd name="connsiteX50" fmla="*/ 208168 w 442096"/>
              <a:gd name="connsiteY50" fmla="*/ 171368 h 435350"/>
              <a:gd name="connsiteX51" fmla="*/ 172594 w 442096"/>
              <a:gd name="connsiteY51" fmla="*/ 135794 h 435350"/>
              <a:gd name="connsiteX52" fmla="*/ 208168 w 442096"/>
              <a:gd name="connsiteY52" fmla="*/ 100220 h 435350"/>
              <a:gd name="connsiteX53" fmla="*/ 51643 w 442096"/>
              <a:gd name="connsiteY53" fmla="*/ 78753 h 435350"/>
              <a:gd name="connsiteX54" fmla="*/ 20976 w 442096"/>
              <a:gd name="connsiteY54" fmla="*/ 181059 h 435350"/>
              <a:gd name="connsiteX55" fmla="*/ 20976 w 442096"/>
              <a:gd name="connsiteY55" fmla="*/ 181181 h 435350"/>
              <a:gd name="connsiteX56" fmla="*/ 110892 w 442096"/>
              <a:gd name="connsiteY56" fmla="*/ 293545 h 435350"/>
              <a:gd name="connsiteX57" fmla="*/ 146957 w 442096"/>
              <a:gd name="connsiteY57" fmla="*/ 301151 h 435350"/>
              <a:gd name="connsiteX58" fmla="*/ 147079 w 442096"/>
              <a:gd name="connsiteY58" fmla="*/ 301151 h 435350"/>
              <a:gd name="connsiteX59" fmla="*/ 147079 w 442096"/>
              <a:gd name="connsiteY59" fmla="*/ 168792 h 435350"/>
              <a:gd name="connsiteX60" fmla="*/ 346293 w 442096"/>
              <a:gd name="connsiteY60" fmla="*/ 20118 h 435350"/>
              <a:gd name="connsiteX61" fmla="*/ 323354 w 442096"/>
              <a:gd name="connsiteY61" fmla="*/ 43057 h 435350"/>
              <a:gd name="connsiteX62" fmla="*/ 346293 w 442096"/>
              <a:gd name="connsiteY62" fmla="*/ 66119 h 435350"/>
              <a:gd name="connsiteX63" fmla="*/ 369232 w 442096"/>
              <a:gd name="connsiteY63" fmla="*/ 43057 h 435350"/>
              <a:gd name="connsiteX64" fmla="*/ 346293 w 442096"/>
              <a:gd name="connsiteY64" fmla="*/ 20118 h 435350"/>
              <a:gd name="connsiteX65" fmla="*/ 157261 w 442096"/>
              <a:gd name="connsiteY65" fmla="*/ 6992 h 435350"/>
              <a:gd name="connsiteX66" fmla="*/ 266558 w 442096"/>
              <a:gd name="connsiteY66" fmla="*/ 51153 h 435350"/>
              <a:gd name="connsiteX67" fmla="*/ 266804 w 442096"/>
              <a:gd name="connsiteY67" fmla="*/ 65505 h 435350"/>
              <a:gd name="connsiteX68" fmla="*/ 252451 w 442096"/>
              <a:gd name="connsiteY68" fmla="*/ 65750 h 435350"/>
              <a:gd name="connsiteX69" fmla="*/ 157138 w 442096"/>
              <a:gd name="connsiteY69" fmla="*/ 27232 h 435350"/>
              <a:gd name="connsiteX70" fmla="*/ 64646 w 442096"/>
              <a:gd name="connsiteY70" fmla="*/ 63174 h 435350"/>
              <a:gd name="connsiteX71" fmla="*/ 164007 w 442096"/>
              <a:gd name="connsiteY71" fmla="*/ 157015 h 435350"/>
              <a:gd name="connsiteX72" fmla="*/ 167197 w 442096"/>
              <a:gd name="connsiteY72" fmla="*/ 164375 h 435350"/>
              <a:gd name="connsiteX73" fmla="*/ 167197 w 442096"/>
              <a:gd name="connsiteY73" fmla="*/ 301028 h 435350"/>
              <a:gd name="connsiteX74" fmla="*/ 252328 w 442096"/>
              <a:gd name="connsiteY74" fmla="*/ 263001 h 435350"/>
              <a:gd name="connsiteX75" fmla="*/ 266681 w 442096"/>
              <a:gd name="connsiteY75" fmla="*/ 263246 h 435350"/>
              <a:gd name="connsiteX76" fmla="*/ 266435 w 442096"/>
              <a:gd name="connsiteY76" fmla="*/ 277598 h 435350"/>
              <a:gd name="connsiteX77" fmla="*/ 157506 w 442096"/>
              <a:gd name="connsiteY77" fmla="*/ 321759 h 435350"/>
              <a:gd name="connsiteX78" fmla="*/ 157261 w 442096"/>
              <a:gd name="connsiteY78" fmla="*/ 321759 h 435350"/>
              <a:gd name="connsiteX79" fmla="*/ 153458 w 442096"/>
              <a:gd name="connsiteY79" fmla="*/ 321881 h 435350"/>
              <a:gd name="connsiteX80" fmla="*/ 110156 w 442096"/>
              <a:gd name="connsiteY80" fmla="*/ 314644 h 435350"/>
              <a:gd name="connsiteX81" fmla="*/ 1227 w 442096"/>
              <a:gd name="connsiteY81" fmla="*/ 184002 h 435350"/>
              <a:gd name="connsiteX82" fmla="*/ 1227 w 442096"/>
              <a:gd name="connsiteY82" fmla="*/ 183634 h 435350"/>
              <a:gd name="connsiteX83" fmla="*/ 1227 w 442096"/>
              <a:gd name="connsiteY83" fmla="*/ 183389 h 435350"/>
              <a:gd name="connsiteX84" fmla="*/ 0 w 442096"/>
              <a:gd name="connsiteY84" fmla="*/ 164498 h 435350"/>
              <a:gd name="connsiteX85" fmla="*/ 42198 w 442096"/>
              <a:gd name="connsiteY85" fmla="*/ 57409 h 435350"/>
              <a:gd name="connsiteX86" fmla="*/ 42321 w 442096"/>
              <a:gd name="connsiteY86" fmla="*/ 57164 h 435350"/>
              <a:gd name="connsiteX87" fmla="*/ 43793 w 442096"/>
              <a:gd name="connsiteY87" fmla="*/ 55569 h 435350"/>
              <a:gd name="connsiteX88" fmla="*/ 157261 w 442096"/>
              <a:gd name="connsiteY88" fmla="*/ 6992 h 435350"/>
              <a:gd name="connsiteX89" fmla="*/ 346293 w 442096"/>
              <a:gd name="connsiteY89" fmla="*/ 0 h 435350"/>
              <a:gd name="connsiteX90" fmla="*/ 389472 w 442096"/>
              <a:gd name="connsiteY90" fmla="*/ 43179 h 435350"/>
              <a:gd name="connsiteX91" fmla="*/ 346293 w 442096"/>
              <a:gd name="connsiteY91" fmla="*/ 86358 h 435350"/>
              <a:gd name="connsiteX92" fmla="*/ 303114 w 442096"/>
              <a:gd name="connsiteY92" fmla="*/ 43179 h 435350"/>
              <a:gd name="connsiteX93" fmla="*/ 346293 w 442096"/>
              <a:gd name="connsiteY93" fmla="*/ 0 h 43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442096" h="435350">
                <a:moveTo>
                  <a:pt x="208414" y="120583"/>
                </a:moveTo>
                <a:cubicBezTo>
                  <a:pt x="199950" y="120583"/>
                  <a:pt x="193080" y="127452"/>
                  <a:pt x="193080" y="135917"/>
                </a:cubicBezTo>
                <a:cubicBezTo>
                  <a:pt x="193080" y="144381"/>
                  <a:pt x="199950" y="151250"/>
                  <a:pt x="208414" y="151250"/>
                </a:cubicBezTo>
                <a:lnTo>
                  <a:pt x="298207" y="151250"/>
                </a:lnTo>
                <a:cubicBezTo>
                  <a:pt x="303727" y="151250"/>
                  <a:pt x="308265" y="155666"/>
                  <a:pt x="308265" y="161309"/>
                </a:cubicBezTo>
                <a:lnTo>
                  <a:pt x="308265" y="399776"/>
                </a:lnTo>
                <a:cubicBezTo>
                  <a:pt x="308265" y="408240"/>
                  <a:pt x="315135" y="415109"/>
                  <a:pt x="323599" y="415109"/>
                </a:cubicBezTo>
                <a:cubicBezTo>
                  <a:pt x="328874" y="415109"/>
                  <a:pt x="333535" y="412288"/>
                  <a:pt x="336356" y="407872"/>
                </a:cubicBezTo>
                <a:lnTo>
                  <a:pt x="336356" y="264964"/>
                </a:lnTo>
                <a:cubicBezTo>
                  <a:pt x="336356" y="259443"/>
                  <a:pt x="340772" y="254905"/>
                  <a:pt x="346415" y="254905"/>
                </a:cubicBezTo>
                <a:cubicBezTo>
                  <a:pt x="351935" y="254905"/>
                  <a:pt x="356474" y="259321"/>
                  <a:pt x="356474" y="264964"/>
                </a:cubicBezTo>
                <a:lnTo>
                  <a:pt x="356474" y="407872"/>
                </a:lnTo>
                <a:cubicBezTo>
                  <a:pt x="359296" y="412288"/>
                  <a:pt x="363957" y="415109"/>
                  <a:pt x="369232" y="415109"/>
                </a:cubicBezTo>
                <a:cubicBezTo>
                  <a:pt x="377696" y="415109"/>
                  <a:pt x="384565" y="408240"/>
                  <a:pt x="384565" y="399776"/>
                </a:cubicBezTo>
                <a:lnTo>
                  <a:pt x="384565" y="161309"/>
                </a:lnTo>
                <a:cubicBezTo>
                  <a:pt x="384565" y="155789"/>
                  <a:pt x="389104" y="151250"/>
                  <a:pt x="394624" y="151250"/>
                </a:cubicBezTo>
                <a:cubicBezTo>
                  <a:pt x="400144" y="151250"/>
                  <a:pt x="404683" y="155666"/>
                  <a:pt x="404683" y="161309"/>
                </a:cubicBezTo>
                <a:lnTo>
                  <a:pt x="404683" y="265454"/>
                </a:lnTo>
                <a:cubicBezTo>
                  <a:pt x="418667" y="262387"/>
                  <a:pt x="421979" y="252819"/>
                  <a:pt x="421979" y="244600"/>
                </a:cubicBezTo>
                <a:lnTo>
                  <a:pt x="421979" y="135917"/>
                </a:lnTo>
                <a:cubicBezTo>
                  <a:pt x="421979" y="127452"/>
                  <a:pt x="415110" y="120583"/>
                  <a:pt x="406646" y="120583"/>
                </a:cubicBezTo>
                <a:lnTo>
                  <a:pt x="394624" y="120583"/>
                </a:lnTo>
                <a:cubicBezTo>
                  <a:pt x="394379" y="120583"/>
                  <a:pt x="394133" y="120583"/>
                  <a:pt x="393888" y="120583"/>
                </a:cubicBezTo>
                <a:lnTo>
                  <a:pt x="375242" y="120583"/>
                </a:lnTo>
                <a:lnTo>
                  <a:pt x="354879" y="152231"/>
                </a:lnTo>
                <a:cubicBezTo>
                  <a:pt x="353039" y="155175"/>
                  <a:pt x="349850" y="156893"/>
                  <a:pt x="346415" y="156893"/>
                </a:cubicBezTo>
                <a:cubicBezTo>
                  <a:pt x="342981" y="156893"/>
                  <a:pt x="339791" y="155175"/>
                  <a:pt x="337951" y="152231"/>
                </a:cubicBezTo>
                <a:lnTo>
                  <a:pt x="317588" y="120583"/>
                </a:lnTo>
                <a:lnTo>
                  <a:pt x="298942" y="120583"/>
                </a:lnTo>
                <a:cubicBezTo>
                  <a:pt x="298698" y="120583"/>
                  <a:pt x="298452" y="120583"/>
                  <a:pt x="298207" y="120583"/>
                </a:cubicBezTo>
                <a:close/>
                <a:moveTo>
                  <a:pt x="208168" y="100220"/>
                </a:moveTo>
                <a:lnTo>
                  <a:pt x="297225" y="100220"/>
                </a:lnTo>
                <a:cubicBezTo>
                  <a:pt x="297470" y="100220"/>
                  <a:pt x="297715" y="100220"/>
                  <a:pt x="297961" y="100220"/>
                </a:cubicBezTo>
                <a:lnTo>
                  <a:pt x="323108" y="100220"/>
                </a:lnTo>
                <a:cubicBezTo>
                  <a:pt x="326542" y="100220"/>
                  <a:pt x="329732" y="101938"/>
                  <a:pt x="331572" y="104881"/>
                </a:cubicBezTo>
                <a:lnTo>
                  <a:pt x="346415" y="127943"/>
                </a:lnTo>
                <a:lnTo>
                  <a:pt x="361258" y="104881"/>
                </a:lnTo>
                <a:cubicBezTo>
                  <a:pt x="363098" y="101938"/>
                  <a:pt x="366287" y="100220"/>
                  <a:pt x="369722" y="100220"/>
                </a:cubicBezTo>
                <a:lnTo>
                  <a:pt x="394623" y="100220"/>
                </a:lnTo>
                <a:cubicBezTo>
                  <a:pt x="394869" y="100220"/>
                  <a:pt x="395114" y="100220"/>
                  <a:pt x="395359" y="100220"/>
                </a:cubicBezTo>
                <a:lnTo>
                  <a:pt x="406645" y="100220"/>
                </a:lnTo>
                <a:cubicBezTo>
                  <a:pt x="426272" y="100220"/>
                  <a:pt x="442219" y="116167"/>
                  <a:pt x="442096" y="135671"/>
                </a:cubicBezTo>
                <a:lnTo>
                  <a:pt x="442096" y="244478"/>
                </a:lnTo>
                <a:cubicBezTo>
                  <a:pt x="442096" y="261897"/>
                  <a:pt x="432037" y="281892"/>
                  <a:pt x="404560" y="285817"/>
                </a:cubicBezTo>
                <a:lnTo>
                  <a:pt x="404560" y="399776"/>
                </a:lnTo>
                <a:cubicBezTo>
                  <a:pt x="404560" y="419403"/>
                  <a:pt x="388613" y="435350"/>
                  <a:pt x="368986" y="435350"/>
                </a:cubicBezTo>
                <a:cubicBezTo>
                  <a:pt x="360399" y="435350"/>
                  <a:pt x="352426" y="432283"/>
                  <a:pt x="346169" y="427008"/>
                </a:cubicBezTo>
                <a:cubicBezTo>
                  <a:pt x="339914" y="432283"/>
                  <a:pt x="331940" y="435350"/>
                  <a:pt x="323353" y="435350"/>
                </a:cubicBezTo>
                <a:cubicBezTo>
                  <a:pt x="303727" y="435350"/>
                  <a:pt x="287780" y="419403"/>
                  <a:pt x="287780" y="399776"/>
                </a:cubicBezTo>
                <a:lnTo>
                  <a:pt x="287780" y="171368"/>
                </a:lnTo>
                <a:lnTo>
                  <a:pt x="208168" y="171368"/>
                </a:lnTo>
                <a:cubicBezTo>
                  <a:pt x="188541" y="171368"/>
                  <a:pt x="172594" y="155421"/>
                  <a:pt x="172594" y="135794"/>
                </a:cubicBezTo>
                <a:cubicBezTo>
                  <a:pt x="172594" y="116167"/>
                  <a:pt x="188541" y="100220"/>
                  <a:pt x="208168" y="100220"/>
                </a:cubicBezTo>
                <a:close/>
                <a:moveTo>
                  <a:pt x="51643" y="78753"/>
                </a:moveTo>
                <a:cubicBezTo>
                  <a:pt x="39745" y="96908"/>
                  <a:pt x="15824" y="139474"/>
                  <a:pt x="20976" y="181059"/>
                </a:cubicBezTo>
                <a:cubicBezTo>
                  <a:pt x="20976" y="181059"/>
                  <a:pt x="20976" y="181181"/>
                  <a:pt x="20976" y="181181"/>
                </a:cubicBezTo>
                <a:cubicBezTo>
                  <a:pt x="26496" y="225955"/>
                  <a:pt x="62316" y="274654"/>
                  <a:pt x="110892" y="293545"/>
                </a:cubicBezTo>
                <a:cubicBezTo>
                  <a:pt x="122301" y="297593"/>
                  <a:pt x="134445" y="300292"/>
                  <a:pt x="146957" y="301151"/>
                </a:cubicBezTo>
                <a:lnTo>
                  <a:pt x="147079" y="301151"/>
                </a:lnTo>
                <a:lnTo>
                  <a:pt x="147079" y="168792"/>
                </a:lnTo>
                <a:close/>
                <a:moveTo>
                  <a:pt x="346293" y="20118"/>
                </a:moveTo>
                <a:cubicBezTo>
                  <a:pt x="333658" y="20118"/>
                  <a:pt x="323354" y="30422"/>
                  <a:pt x="323354" y="43057"/>
                </a:cubicBezTo>
                <a:cubicBezTo>
                  <a:pt x="323354" y="55815"/>
                  <a:pt x="333658" y="66119"/>
                  <a:pt x="346293" y="66119"/>
                </a:cubicBezTo>
                <a:cubicBezTo>
                  <a:pt x="358928" y="66119"/>
                  <a:pt x="369232" y="55692"/>
                  <a:pt x="369232" y="43057"/>
                </a:cubicBezTo>
                <a:cubicBezTo>
                  <a:pt x="369232" y="30422"/>
                  <a:pt x="358928" y="20118"/>
                  <a:pt x="346293" y="20118"/>
                </a:cubicBezTo>
                <a:close/>
                <a:moveTo>
                  <a:pt x="157261" y="6992"/>
                </a:moveTo>
                <a:cubicBezTo>
                  <a:pt x="198232" y="6992"/>
                  <a:pt x="236995" y="22694"/>
                  <a:pt x="266558" y="51153"/>
                </a:cubicBezTo>
                <a:cubicBezTo>
                  <a:pt x="270606" y="55078"/>
                  <a:pt x="270729" y="61457"/>
                  <a:pt x="266804" y="65505"/>
                </a:cubicBezTo>
                <a:cubicBezTo>
                  <a:pt x="262878" y="69553"/>
                  <a:pt x="256499" y="69676"/>
                  <a:pt x="252451" y="65750"/>
                </a:cubicBezTo>
                <a:cubicBezTo>
                  <a:pt x="226691" y="40971"/>
                  <a:pt x="192834" y="27232"/>
                  <a:pt x="157138" y="27232"/>
                </a:cubicBezTo>
                <a:cubicBezTo>
                  <a:pt x="121564" y="27232"/>
                  <a:pt x="89057" y="40849"/>
                  <a:pt x="64646" y="63174"/>
                </a:cubicBezTo>
                <a:lnTo>
                  <a:pt x="164007" y="157015"/>
                </a:lnTo>
                <a:cubicBezTo>
                  <a:pt x="166093" y="158978"/>
                  <a:pt x="167197" y="161554"/>
                  <a:pt x="167197" y="164375"/>
                </a:cubicBezTo>
                <a:lnTo>
                  <a:pt x="167197" y="301028"/>
                </a:lnTo>
                <a:cubicBezTo>
                  <a:pt x="199090" y="298697"/>
                  <a:pt x="229022" y="285449"/>
                  <a:pt x="252328" y="263001"/>
                </a:cubicBezTo>
                <a:cubicBezTo>
                  <a:pt x="256377" y="259198"/>
                  <a:pt x="262755" y="259321"/>
                  <a:pt x="266681" y="263246"/>
                </a:cubicBezTo>
                <a:cubicBezTo>
                  <a:pt x="270606" y="267294"/>
                  <a:pt x="270484" y="273673"/>
                  <a:pt x="266435" y="277598"/>
                </a:cubicBezTo>
                <a:cubicBezTo>
                  <a:pt x="236995" y="305935"/>
                  <a:pt x="198355" y="321636"/>
                  <a:pt x="157506" y="321759"/>
                </a:cubicBezTo>
                <a:cubicBezTo>
                  <a:pt x="157506" y="321759"/>
                  <a:pt x="157383" y="321759"/>
                  <a:pt x="157261" y="321759"/>
                </a:cubicBezTo>
                <a:cubicBezTo>
                  <a:pt x="156034" y="321881"/>
                  <a:pt x="154685" y="321881"/>
                  <a:pt x="153458" y="321881"/>
                </a:cubicBezTo>
                <a:cubicBezTo>
                  <a:pt x="138370" y="321881"/>
                  <a:pt x="123895" y="319306"/>
                  <a:pt x="110156" y="314644"/>
                </a:cubicBezTo>
                <a:cubicBezTo>
                  <a:pt x="52379" y="296367"/>
                  <a:pt x="8955" y="245705"/>
                  <a:pt x="1227" y="184002"/>
                </a:cubicBezTo>
                <a:cubicBezTo>
                  <a:pt x="1227" y="183880"/>
                  <a:pt x="1227" y="183757"/>
                  <a:pt x="1227" y="183634"/>
                </a:cubicBezTo>
                <a:cubicBezTo>
                  <a:pt x="1227" y="183634"/>
                  <a:pt x="1227" y="183512"/>
                  <a:pt x="1227" y="183389"/>
                </a:cubicBezTo>
                <a:cubicBezTo>
                  <a:pt x="368" y="177133"/>
                  <a:pt x="0" y="170877"/>
                  <a:pt x="0" y="164498"/>
                </a:cubicBezTo>
                <a:cubicBezTo>
                  <a:pt x="0" y="123159"/>
                  <a:pt x="16069" y="85500"/>
                  <a:pt x="42198" y="57409"/>
                </a:cubicBezTo>
                <a:cubicBezTo>
                  <a:pt x="42198" y="57286"/>
                  <a:pt x="42321" y="57164"/>
                  <a:pt x="42321" y="57164"/>
                </a:cubicBezTo>
                <a:cubicBezTo>
                  <a:pt x="42688" y="56550"/>
                  <a:pt x="43179" y="56059"/>
                  <a:pt x="43793" y="55569"/>
                </a:cubicBezTo>
                <a:cubicBezTo>
                  <a:pt x="72374" y="25638"/>
                  <a:pt x="112732" y="6992"/>
                  <a:pt x="157261" y="6992"/>
                </a:cubicBezTo>
                <a:close/>
                <a:moveTo>
                  <a:pt x="346293" y="0"/>
                </a:moveTo>
                <a:cubicBezTo>
                  <a:pt x="370090" y="0"/>
                  <a:pt x="389472" y="19382"/>
                  <a:pt x="389472" y="43179"/>
                </a:cubicBezTo>
                <a:cubicBezTo>
                  <a:pt x="389472" y="66977"/>
                  <a:pt x="370090" y="86358"/>
                  <a:pt x="346293" y="86358"/>
                </a:cubicBezTo>
                <a:cubicBezTo>
                  <a:pt x="322495" y="86358"/>
                  <a:pt x="303114" y="66977"/>
                  <a:pt x="303114" y="43179"/>
                </a:cubicBezTo>
                <a:cubicBezTo>
                  <a:pt x="303114" y="19382"/>
                  <a:pt x="322495" y="0"/>
                  <a:pt x="346293" y="0"/>
                </a:cubicBezTo>
                <a:close/>
              </a:path>
            </a:pathLst>
          </a:custGeom>
          <a:gradFill rotWithShape="1">
            <a:gsLst>
              <a:gs pos="0">
                <a:srgbClr val="0082D2">
                  <a:satMod val="103000"/>
                  <a:lumMod val="102000"/>
                  <a:tint val="94000"/>
                </a:srgbClr>
              </a:gs>
              <a:gs pos="50000">
                <a:srgbClr val="0082D2">
                  <a:satMod val="110000"/>
                  <a:lumMod val="100000"/>
                  <a:shade val="100000"/>
                </a:srgbClr>
              </a:gs>
              <a:gs pos="100000">
                <a:srgbClr val="0082D2">
                  <a:lumMod val="99000"/>
                  <a:satMod val="120000"/>
                  <a:shade val="78000"/>
                </a:srgbClr>
              </a:gs>
            </a:gsLst>
            <a:lin ang="5400000" scaled="0"/>
          </a:gradFill>
          <a:ln w="6350" cap="flat" cmpd="sng" algn="ctr">
            <a:solidFill>
              <a:srgbClr val="0082D2"/>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rgbClr val="FFFFFF"/>
              </a:solidFill>
              <a:effectLst/>
              <a:uLnTx/>
              <a:uFillTx/>
              <a:latin typeface="Source Sans Pro"/>
              <a:ea typeface="+mn-ea"/>
              <a:cs typeface="+mn-cs"/>
            </a:endParaRPr>
          </a:p>
        </p:txBody>
      </p:sp>
    </p:spTree>
    <p:extLst>
      <p:ext uri="{BB962C8B-B14F-4D97-AF65-F5344CB8AC3E}">
        <p14:creationId xmlns:p14="http://schemas.microsoft.com/office/powerpoint/2010/main" val="2816604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SHAPENAME" val="1. On-page tracker"/>
</p:tagLst>
</file>

<file path=ppt/theme/theme1.xml><?xml version="1.0" encoding="utf-8"?>
<a:theme xmlns:a="http://schemas.openxmlformats.org/drawingml/2006/main" name="giz Transport &amp; Climate Change Week">
  <a:themeElements>
    <a:clrScheme name="giz Transport &amp; Climate Change Week">
      <a:dk1>
        <a:srgbClr val="0A0A0A"/>
      </a:dk1>
      <a:lt1>
        <a:srgbClr val="FFFFFF"/>
      </a:lt1>
      <a:dk2>
        <a:srgbClr val="284896"/>
      </a:dk2>
      <a:lt2>
        <a:srgbClr val="002060"/>
      </a:lt2>
      <a:accent1>
        <a:srgbClr val="0082D2"/>
      </a:accent1>
      <a:accent2>
        <a:srgbClr val="05BCFF"/>
      </a:accent2>
      <a:accent3>
        <a:srgbClr val="6DD1D1"/>
      </a:accent3>
      <a:accent4>
        <a:srgbClr val="FFCC00"/>
      </a:accent4>
      <a:accent5>
        <a:srgbClr val="9E2886"/>
      </a:accent5>
      <a:accent6>
        <a:srgbClr val="CD193C"/>
      </a:accent6>
      <a:hlink>
        <a:srgbClr val="05BCFF"/>
      </a:hlink>
      <a:folHlink>
        <a:srgbClr val="0082D2"/>
      </a:folHlink>
    </a:clrScheme>
    <a:fontScheme name="giz Transport &amp; Climate Change Week">
      <a:majorFont>
        <a:latin typeface="Source Sans Pro Light"/>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0" tIns="0" rIns="0" bIns="0" rtlCol="0" anchor="ctr"/>
      <a:lstStyle>
        <a:defPPr algn="ctr">
          <a:defRPr>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oAutofit/>
      </a:bodyPr>
      <a:lstStyle>
        <a:defPPr algn="l">
          <a:defRPr dirty="0" smtClean="0">
            <a:solidFill>
              <a:schemeClr val="tx1"/>
            </a:solidFill>
          </a:defRPr>
        </a:defPPr>
      </a:lstStyle>
    </a:txDef>
  </a:objectDefaults>
  <a:extraClrSchemeLst/>
  <a:custClrLst>
    <a:custClr name="giz Schwarz">
      <a:srgbClr val="0A0A0A"/>
    </a:custClr>
    <a:custClr name="Schwarz 80%">
      <a:srgbClr val="3B3B3B"/>
    </a:custClr>
    <a:custClr name="Schwarz 60%">
      <a:srgbClr val="6C6C6C"/>
    </a:custClr>
    <a:custClr name="Schwarz 40%">
      <a:srgbClr val="9D9D9D"/>
    </a:custClr>
    <a:custClr name="Schwarz 20%">
      <a:srgbClr val="CECECE"/>
    </a:custClr>
    <a:custClr name="giz Blau 04">
      <a:srgbClr val="05BCFF"/>
    </a:custClr>
    <a:custClr name="Blau 04 80%">
      <a:srgbClr val="37C9FF"/>
    </a:custClr>
    <a:custClr name="Blau 04 60%">
      <a:srgbClr val="69D7FF"/>
    </a:custClr>
    <a:custClr name="Blau 04 40%">
      <a:srgbClr val="9BE4FF"/>
    </a:custClr>
    <a:custClr name="Blau 20%">
      <a:srgbClr val="CDF2FF"/>
    </a:custClr>
    <a:custClr name="giz Blau 01">
      <a:srgbClr val="002060"/>
    </a:custClr>
    <a:custClr name="Blau 01 80%">
      <a:srgbClr val="334D80"/>
    </a:custClr>
    <a:custClr name="Blau 01 60%">
      <a:srgbClr val="6679A0"/>
    </a:custClr>
    <a:custClr name="Blau 01 40%">
      <a:srgbClr val="99A6BF"/>
    </a:custClr>
    <a:custClr name="Blau 01 20%">
      <a:srgbClr val="CCD2DF"/>
    </a:custClr>
    <a:custClr name="giz Türkis">
      <a:srgbClr val="6DD1D1"/>
    </a:custClr>
    <a:custClr name="Türkis 80%">
      <a:srgbClr val="8ADADA"/>
    </a:custClr>
    <a:custClr name="Türkis 60%">
      <a:srgbClr val="A7E3E3"/>
    </a:custClr>
    <a:custClr name="Türkis 40%">
      <a:srgbClr val="C5EDED"/>
    </a:custClr>
    <a:custClr name="Türkis 20%">
      <a:srgbClr val="E2F6F6"/>
    </a:custClr>
    <a:custClr name="giz Blau 02">
      <a:srgbClr val="284896"/>
    </a:custClr>
    <a:custClr name="Blau 02 80%">
      <a:srgbClr val="536DAB"/>
    </a:custClr>
    <a:custClr name="Blau 02 60%">
      <a:srgbClr val="7E91C0"/>
    </a:custClr>
    <a:custClr name="Blau 02 40%">
      <a:srgbClr val="A9B6D5"/>
    </a:custClr>
    <a:custClr name="Blau 02 20%">
      <a:srgbClr val="D4DAEA"/>
    </a:custClr>
    <a:custClr name="giz Gelb">
      <a:srgbClr val="FFCC00"/>
    </a:custClr>
    <a:custClr name="Gelb 80%">
      <a:srgbClr val="FFD633"/>
    </a:custClr>
    <a:custClr name="Gelb 60%">
      <a:srgbClr val="FFE066"/>
    </a:custClr>
    <a:custClr name="Gelb 40%">
      <a:srgbClr val="FFEB99"/>
    </a:custClr>
    <a:custClr name="Gelb 20%">
      <a:srgbClr val="FFF5CC"/>
    </a:custClr>
    <a:custClr name="giz Blau 03">
      <a:srgbClr val="0082D2"/>
    </a:custClr>
    <a:custClr name="Blau 03 80%">
      <a:srgbClr val="339BDB"/>
    </a:custClr>
    <a:custClr name="Blau 03 60%">
      <a:srgbClr val="66B4E4"/>
    </a:custClr>
    <a:custClr name="Blau 03 40%">
      <a:srgbClr val="99CDED"/>
    </a:custClr>
    <a:custClr name="Blau 03 20%">
      <a:srgbClr val="CCE6F6"/>
    </a:custClr>
    <a:custClr name="giz Magenta">
      <a:srgbClr val="9E2886"/>
    </a:custClr>
    <a:custClr name="Magenta 80%">
      <a:srgbClr val="B1539E"/>
    </a:custClr>
    <a:custClr name="Magenta 60%">
      <a:srgbClr val="C57EB6"/>
    </a:custClr>
    <a:custClr name="Magenta 40%">
      <a:srgbClr val="D8A9CF"/>
    </a:custClr>
    <a:custClr name="Magenta 20%">
      <a:srgbClr val="ECD4E7"/>
    </a:custClr>
    <a:custClr name="giz Rot">
      <a:srgbClr val="CD193C"/>
    </a:custClr>
    <a:custClr name="Rot 80%">
      <a:srgbClr val="D74763"/>
    </a:custClr>
    <a:custClr name="Rot 60%">
      <a:srgbClr val="E1758A"/>
    </a:custClr>
    <a:custClr name="Rot 40%">
      <a:srgbClr val="EBA3B1"/>
    </a:custClr>
    <a:custClr name="Rot 20%">
      <a:srgbClr val="F5D1D8"/>
    </a:custClr>
  </a:custClrLst>
  <a:extLst>
    <a:ext uri="{05A4C25C-085E-4340-85A3-A5531E510DB2}">
      <thm15:themeFamily xmlns:thm15="http://schemas.microsoft.com/office/thememl/2012/main" name="Template_PPT_Charterlibrary_TransportWeek2024.pptx" id="{1065DDA2-CFAB-49CA-A2A4-C2CC667C3D11}" vid="{F63A881C-ECB0-4796-BB38-D0E32E821788}"/>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MATO PPT ATY (1)" id="{BAE4CB3D-3CC9-45AE-9C3A-2467EE007FFF}" vid="{FCF8781D-F119-40B4-BDEA-7A099CD36DDB}"/>
    </a:ext>
  </a:extLst>
</a:theme>
</file>

<file path=ppt/theme/theme4.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5F23B8812BCB8242AB31F7BA9ADC2539" ma:contentTypeVersion="19" ma:contentTypeDescription="Crear nuevo documento." ma:contentTypeScope="" ma:versionID="5b8afb8fa5f96ba7bc5fe16450cfdc5b">
  <xsd:schema xmlns:xsd="http://www.w3.org/2001/XMLSchema" xmlns:xs="http://www.w3.org/2001/XMLSchema" xmlns:p="http://schemas.microsoft.com/office/2006/metadata/properties" xmlns:ns2="6b84dadb-64e9-451d-ac24-20f83dc4e5bc" xmlns:ns3="7ea94427-a814-4900-b4f1-e109ad14e580" targetNamespace="http://schemas.microsoft.com/office/2006/metadata/properties" ma:root="true" ma:fieldsID="17fb844318daa36d5372777bc37b9b16" ns2:_="" ns3:_="">
    <xsd:import namespace="6b84dadb-64e9-451d-ac24-20f83dc4e5bc"/>
    <xsd:import namespace="7ea94427-a814-4900-b4f1-e109ad14e58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element ref="ns2:Documenttyp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84dadb-64e9-451d-ac24-20f83dc4e5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Etiquetas de imagen"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element name="Documenttype" ma:index="24" nillable="true" ma:displayName="Document type" ma:format="Dropdown" ma:internalName="Documenttype">
      <xsd:simpleType>
        <xsd:restriction base="dms:Choice">
          <xsd:enumeration value="Template"/>
          <xsd:enumeration value="Guide"/>
          <xsd:enumeration value="Tutorial"/>
          <xsd:enumeration value="Working Doc"/>
        </xsd:restrict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a94427-a814-4900-b4f1-e109ad14e580" elementFormDefault="qualified">
    <xsd:import namespace="http://schemas.microsoft.com/office/2006/documentManagement/types"/>
    <xsd:import namespace="http://schemas.microsoft.com/office/infopath/2007/PartnerControls"/>
    <xsd:element name="SharedWithUsers" ma:index="17"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talles de uso compartido" ma:internalName="SharedWithDetails" ma:readOnly="true">
      <xsd:simpleType>
        <xsd:restriction base="dms:Note">
          <xsd:maxLength value="255"/>
        </xsd:restriction>
      </xsd:simpleType>
    </xsd:element>
    <xsd:element name="TaxCatchAll" ma:index="23" nillable="true" ma:displayName="Taxonomy Catch All Column" ma:hidden="true" ma:list="{c91f7b5e-02e1-44ad-9dd5-27c65a3617cf}" ma:internalName="TaxCatchAll" ma:showField="CatchAllData" ma:web="7ea94427-a814-4900-b4f1-e109ad14e58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b84dadb-64e9-451d-ac24-20f83dc4e5bc">
      <Terms xmlns="http://schemas.microsoft.com/office/infopath/2007/PartnerControls"/>
    </lcf76f155ced4ddcb4097134ff3c332f>
    <TaxCatchAll xmlns="7ea94427-a814-4900-b4f1-e109ad14e580" xsi:nil="true"/>
    <MediaLengthInSeconds xmlns="6b84dadb-64e9-451d-ac24-20f83dc4e5bc" xsi:nil="true"/>
    <SharedWithUsers xmlns="7ea94427-a814-4900-b4f1-e109ad14e580">
      <UserInfo>
        <DisplayName/>
        <AccountId xsi:nil="true"/>
        <AccountType/>
      </UserInfo>
    </SharedWithUsers>
    <Documenttype xmlns="6b84dadb-64e9-451d-ac24-20f83dc4e5b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5740FE9-6DCD-4BE6-B509-569B52DA84B7}"/>
</file>

<file path=customXml/itemProps2.xml><?xml version="1.0" encoding="utf-8"?>
<ds:datastoreItem xmlns:ds="http://schemas.openxmlformats.org/officeDocument/2006/customXml" ds:itemID="{23B6608C-8720-4425-99CE-39B761FEDB72}">
  <ds:schemaRefs>
    <ds:schemaRef ds:uri="http://schemas.microsoft.com/office/2006/documentManagement/types"/>
    <ds:schemaRef ds:uri="http://schemas.microsoft.com/office/infopath/2007/PartnerControls"/>
    <ds:schemaRef ds:uri="cdaba44c-56e2-426a-84fb-b2cd630ec321"/>
    <ds:schemaRef ds:uri="http://purl.org/dc/elements/1.1/"/>
    <ds:schemaRef ds:uri="http://schemas.microsoft.com/office/2006/metadata/properties"/>
    <ds:schemaRef ds:uri="03dad9f7-eeac-4c02-ba14-375916eb47b1"/>
    <ds:schemaRef ds:uri="http://purl.org/dc/terms/"/>
    <ds:schemaRef ds:uri="http://schemas.openxmlformats.org/package/2006/metadata/core-properties"/>
    <ds:schemaRef ds:uri="http://www.w3.org/XML/1998/namespace"/>
    <ds:schemaRef ds:uri="http://purl.org/dc/dcmitype/"/>
    <ds:schemaRef ds:uri="6b84dadb-64e9-451d-ac24-20f83dc4e5bc"/>
    <ds:schemaRef ds:uri="7ea94427-a814-4900-b4f1-e109ad14e580"/>
  </ds:schemaRefs>
</ds:datastoreItem>
</file>

<file path=customXml/itemProps3.xml><?xml version="1.0" encoding="utf-8"?>
<ds:datastoreItem xmlns:ds="http://schemas.openxmlformats.org/officeDocument/2006/customXml" ds:itemID="{AC12AAF3-CAAF-4DC3-9D92-8FC39611D2C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mplate_PPT_Charterlibrary_TransportWeek2024 (2)</Template>
  <TotalTime>717</TotalTime>
  <Words>566</Words>
  <Application>Microsoft Office PowerPoint</Application>
  <PresentationFormat>Panorámica</PresentationFormat>
  <Paragraphs>137</Paragraphs>
  <Slides>11</Slides>
  <Notes>2</Notes>
  <HiddenSlides>0</HiddenSlides>
  <MMClips>0</MMClips>
  <ScaleCrop>false</ScaleCrop>
  <HeadingPairs>
    <vt:vector size="8" baseType="variant">
      <vt:variant>
        <vt:lpstr>Fuentes usadas</vt:lpstr>
      </vt:variant>
      <vt:variant>
        <vt:i4>10</vt:i4>
      </vt:variant>
      <vt:variant>
        <vt:lpstr>Tema</vt:lpstr>
      </vt:variant>
      <vt:variant>
        <vt:i4>4</vt:i4>
      </vt:variant>
      <vt:variant>
        <vt:lpstr>Servidores OLE incrustados</vt:lpstr>
      </vt:variant>
      <vt:variant>
        <vt:i4>1</vt:i4>
      </vt:variant>
      <vt:variant>
        <vt:lpstr>Títulos de diapositiva</vt:lpstr>
      </vt:variant>
      <vt:variant>
        <vt:i4>11</vt:i4>
      </vt:variant>
    </vt:vector>
  </HeadingPairs>
  <TitlesOfParts>
    <vt:vector size="26" baseType="lpstr">
      <vt:lpstr>Arial</vt:lpstr>
      <vt:lpstr>Arial Black</vt:lpstr>
      <vt:lpstr>Bahnschrift SemiCondensed</vt:lpstr>
      <vt:lpstr>Calibri</vt:lpstr>
      <vt:lpstr>Calibri Light</vt:lpstr>
      <vt:lpstr>Panton Black</vt:lpstr>
      <vt:lpstr>Segoe UI</vt:lpstr>
      <vt:lpstr>Source Sans Pro</vt:lpstr>
      <vt:lpstr>Source Sans Pro Light</vt:lpstr>
      <vt:lpstr>Source Sans Pro Semibold</vt:lpstr>
      <vt:lpstr>giz Transport &amp; Climate Change Week</vt:lpstr>
      <vt:lpstr>Tema de Office</vt:lpstr>
      <vt:lpstr>1_Tema de Office</vt:lpstr>
      <vt:lpstr>2_Tema de Office</vt:lpstr>
      <vt:lpstr>think-cell Slide</vt:lpstr>
      <vt:lpstr>Presentación de PowerPoint</vt:lpstr>
      <vt:lpstr>Presentación de PowerPoint</vt:lpstr>
      <vt:lpstr>PREVIOUS CHALLENGES </vt:lpstr>
      <vt:lpstr>Presentación de PowerPoint</vt:lpstr>
      <vt:lpstr>Presentación de PowerPoint</vt:lpstr>
      <vt:lpstr>WHAT IS VA Y VEN SYSTEM? </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NORMA MIROSLAVA ARGAEZ PAREDES</dc:creator>
  <cp:lastModifiedBy>NORMA MIROSLAVA ARGAEZ PAREDES</cp:lastModifiedBy>
  <cp:revision>38</cp:revision>
  <dcterms:created xsi:type="dcterms:W3CDTF">2024-11-05T15:55:24Z</dcterms:created>
  <dcterms:modified xsi:type="dcterms:W3CDTF">2024-11-06T05:3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23B8812BCB8242AB31F7BA9ADC2539</vt:lpwstr>
  </property>
  <property fmtid="{D5CDD505-2E9C-101B-9397-08002B2CF9AE}" pid="3" name="xd_ProgID">
    <vt:lpwstr/>
  </property>
  <property fmtid="{D5CDD505-2E9C-101B-9397-08002B2CF9AE}" pid="4" name="MediaServiceImageTags">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bool>false</vt:bool>
  </property>
</Properties>
</file>